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0.bin" ContentType="image/jpeg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8"/>
    <p:sldMasterId id="2147483765" r:id="rId9"/>
  </p:sldMasterIdLst>
  <p:notesMasterIdLst>
    <p:notesMasterId r:id="rId32"/>
  </p:notesMasterIdLst>
  <p:handoutMasterIdLst>
    <p:handoutMasterId r:id="rId33"/>
  </p:handoutMasterIdLst>
  <p:sldIdLst>
    <p:sldId id="2147479193" r:id="rId10"/>
    <p:sldId id="2147479842" r:id="rId11"/>
    <p:sldId id="2147479840" r:id="rId12"/>
    <p:sldId id="2147479824" r:id="rId13"/>
    <p:sldId id="2147479823" r:id="rId14"/>
    <p:sldId id="2147479826" r:id="rId15"/>
    <p:sldId id="2147479825" r:id="rId16"/>
    <p:sldId id="2147479841" r:id="rId17"/>
    <p:sldId id="2147479832" r:id="rId18"/>
    <p:sldId id="2147479836" r:id="rId19"/>
    <p:sldId id="2147479833" r:id="rId20"/>
    <p:sldId id="2147479843" r:id="rId21"/>
    <p:sldId id="2147479835" r:id="rId22"/>
    <p:sldId id="2147479837" r:id="rId23"/>
    <p:sldId id="2147479838" r:id="rId24"/>
    <p:sldId id="2147479839" r:id="rId25"/>
    <p:sldId id="2147479831" r:id="rId26"/>
    <p:sldId id="2147479830" r:id="rId27"/>
    <p:sldId id="1448943273" r:id="rId28"/>
    <p:sldId id="2147479828" r:id="rId29"/>
    <p:sldId id="2147479834" r:id="rId30"/>
    <p:sldId id="2147479797" r:id="rId31"/>
  </p:sldIdLst>
  <p:sldSz cx="12192000" cy="6858000"/>
  <p:notesSz cx="6858000" cy="9144000"/>
  <p:embeddedFontLst>
    <p:embeddedFont>
      <p:font typeface="Ericsson Hilda" panose="00000500000000000000" pitchFamily="2" charset="0"/>
      <p:regular r:id="rId34"/>
      <p:bold r:id="rId35"/>
      <p:italic r:id="rId36"/>
      <p:boldItalic r:id="rId37"/>
    </p:embeddedFont>
    <p:embeddedFont>
      <p:font typeface="Ericsson Hilda ExtraBold" panose="00000900000000000000" pitchFamily="2" charset="0"/>
      <p:bold r:id="rId38"/>
    </p:embeddedFont>
    <p:embeddedFont>
      <p:font typeface="Ericsson Hilda ExtraLight" panose="00000300000000000000" pitchFamily="2" charset="0"/>
      <p:regular r:id="rId39"/>
    </p:embeddedFont>
    <p:embeddedFont>
      <p:font typeface="Ericsson Hilda Light" panose="00000400000000000000" pitchFamily="2" charset="0"/>
      <p:regular r:id="rId40"/>
      <p:italic r:id="rId41"/>
    </p:embeddedFont>
    <p:embeddedFont>
      <p:font typeface="Ericsson Technical Icons" panose="020B0604020202020204" charset="0"/>
      <p:regular r:id="rId42"/>
      <p:bold r:id="rId43"/>
      <p:italic r:id="rId44"/>
      <p:boldItalic r:id="rId45"/>
    </p:embeddedFont>
    <p:embeddedFont>
      <p:font typeface="EucrosiaUPC" panose="02020603050405020304" pitchFamily="18" charset="-34"/>
      <p:regular r:id="rId46"/>
      <p:bold r:id="rId47"/>
      <p:italic r:id="rId48"/>
      <p:boldItalic r:id="rId49"/>
    </p:embeddedFont>
    <p:embeddedFont>
      <p:font typeface="Lato Light" panose="020F0502020204030203" pitchFamily="34" charset="0"/>
      <p:regular r:id="rId50"/>
      <p:italic r:id="rId51"/>
    </p:embeddedFont>
  </p:embeddedFontLst>
  <p:defaultTextStyle>
    <a:defPPr>
      <a:defRPr lang="en-US"/>
    </a:defPPr>
  </p:defaultTextStyle>
  <p:extLst>
    <p:ext uri="{521415D9-36F7-43E2-AB2F-B90AF26B5E84}">
      <p14:sectionLst xmlns:p14="http://schemas.microsoft.com/office/powerpoint/2010/main">
        <p14:section name="Default Section" id="{976FE3CF-929B-4CC2-BA5D-176FA5CFCE2A}">
          <p14:sldIdLst>
            <p14:sldId id="2147479193"/>
            <p14:sldId id="2147479842"/>
            <p14:sldId id="2147479840"/>
            <p14:sldId id="2147479824"/>
            <p14:sldId id="2147479823"/>
            <p14:sldId id="2147479826"/>
            <p14:sldId id="2147479825"/>
            <p14:sldId id="2147479841"/>
            <p14:sldId id="2147479832"/>
            <p14:sldId id="2147479836"/>
            <p14:sldId id="2147479833"/>
            <p14:sldId id="2147479843"/>
            <p14:sldId id="2147479835"/>
            <p14:sldId id="2147479837"/>
            <p14:sldId id="2147479838"/>
            <p14:sldId id="2147479839"/>
            <p14:sldId id="2147479831"/>
            <p14:sldId id="2147479830"/>
            <p14:sldId id="1448943273"/>
            <p14:sldId id="2147479828"/>
            <p14:sldId id="2147479834"/>
            <p14:sldId id="21474797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1F1958-6B46-14A4-DE08-E65DBFA41CC9}" name="Raul Martin R" initials="RMR" userId="S::raul.r.martin@ericsson.com::a2bbbdf7-c53a-4cbd-a9ca-e03ef66e856b" providerId="AD"/>
  <p188:author id="{AD810EC5-E887-B811-D572-403A60F0223A}" name="Oscar Llorente Gonzalez" initials="OLG" userId="S::oscar.llorente.gonzalez@ericsson.com::e1d48c7f-7de1-49f5-ba88-07a54202ac7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DAE8FC"/>
    <a:srgbClr val="F8CECC"/>
    <a:srgbClr val="FF5656"/>
    <a:srgbClr val="33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7813CC-6907-4F4D-B15A-1E0D0E480B20}" v="105" dt="2025-02-20T16:27:12.84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00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78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4" d="100"/>
          <a:sy n="124" d="100"/>
        </p:scale>
        <p:origin x="4960" y="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6.fntdata"/><Relationship Id="rId21" Type="http://schemas.openxmlformats.org/officeDocument/2006/relationships/slide" Target="slides/slide12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viewProps" Target="viewProps.xml"/><Relationship Id="rId58" Type="http://schemas.microsoft.com/office/2018/10/relationships/authors" Target="authors.xml"/><Relationship Id="rId5" Type="http://schemas.openxmlformats.org/officeDocument/2006/relationships/customXml" Target="../customXml/item5.xml"/><Relationship Id="rId19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microsoft.com/office/2016/11/relationships/changesInfo" Target="changesInfos/changesInfo1.xml"/><Relationship Id="rId8" Type="http://schemas.openxmlformats.org/officeDocument/2006/relationships/slideMaster" Target="slideMasters/slideMaster1.xml"/><Relationship Id="rId51" Type="http://schemas.openxmlformats.org/officeDocument/2006/relationships/font" Target="fonts/font1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20" Type="http://schemas.openxmlformats.org/officeDocument/2006/relationships/slide" Target="slides/slide11.xml"/><Relationship Id="rId41" Type="http://schemas.openxmlformats.org/officeDocument/2006/relationships/font" Target="fonts/font8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microsoft.com/office/2015/10/relationships/revisionInfo" Target="revisionInfo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font" Target="fonts/font11.fntdata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scar Llorente Gonzalez" userId="e1d48c7f-7de1-49f5-ba88-07a54202ac7d" providerId="ADAL" clId="{1EEC5D65-53DB-49BB-8210-9857D65F24AB}"/>
    <pc:docChg chg="undo custSel addSld delSld modSld sldOrd modMainMaster modSection">
      <pc:chgData name="Oscar Llorente Gonzalez" userId="e1d48c7f-7de1-49f5-ba88-07a54202ac7d" providerId="ADAL" clId="{1EEC5D65-53DB-49BB-8210-9857D65F24AB}" dt="2024-02-07T11:15:58.401" v="1317"/>
      <pc:docMkLst>
        <pc:docMk/>
      </pc:docMkLst>
      <pc:sldChg chg="delSp del mod">
        <pc:chgData name="Oscar Llorente Gonzalez" userId="e1d48c7f-7de1-49f5-ba88-07a54202ac7d" providerId="ADAL" clId="{1EEC5D65-53DB-49BB-8210-9857D65F24AB}" dt="2024-02-07T09:52:17.630" v="1313" actId="2696"/>
        <pc:sldMkLst>
          <pc:docMk/>
          <pc:sldMk cId="1383928708" sldId="261"/>
        </pc:sldMkLst>
        <pc:spChg chg="del">
          <ac:chgData name="Oscar Llorente Gonzalez" userId="e1d48c7f-7de1-49f5-ba88-07a54202ac7d" providerId="ADAL" clId="{1EEC5D65-53DB-49BB-8210-9857D65F24AB}" dt="2024-02-07T09:46:23.084" v="1298" actId="478"/>
          <ac:spMkLst>
            <pc:docMk/>
            <pc:sldMk cId="1383928708" sldId="261"/>
            <ac:spMk id="4" creationId="{6FF69E04-8523-4965-90ED-73D4F9BAE271}"/>
          </ac:spMkLst>
        </pc:spChg>
      </pc:sldChg>
      <pc:sldChg chg="mod modShow">
        <pc:chgData name="Oscar Llorente Gonzalez" userId="e1d48c7f-7de1-49f5-ba88-07a54202ac7d" providerId="ADAL" clId="{1EEC5D65-53DB-49BB-8210-9857D65F24AB}" dt="2024-02-01T13:20:10.505" v="84" actId="729"/>
        <pc:sldMkLst>
          <pc:docMk/>
          <pc:sldMk cId="2395417709" sldId="2147479165"/>
        </pc:sldMkLst>
      </pc:sldChg>
      <pc:sldChg chg="mod modShow">
        <pc:chgData name="Oscar Llorente Gonzalez" userId="e1d48c7f-7de1-49f5-ba88-07a54202ac7d" providerId="ADAL" clId="{1EEC5D65-53DB-49BB-8210-9857D65F24AB}" dt="2024-02-01T13:17:57.563" v="82" actId="729"/>
        <pc:sldMkLst>
          <pc:docMk/>
          <pc:sldMk cId="3824782914" sldId="2147479178"/>
        </pc:sldMkLst>
      </pc:sldChg>
      <pc:sldChg chg="mod modShow">
        <pc:chgData name="Oscar Llorente Gonzalez" userId="e1d48c7f-7de1-49f5-ba88-07a54202ac7d" providerId="ADAL" clId="{1EEC5D65-53DB-49BB-8210-9857D65F24AB}" dt="2024-02-01T13:17:52.918" v="81" actId="729"/>
        <pc:sldMkLst>
          <pc:docMk/>
          <pc:sldMk cId="401904506" sldId="2147479182"/>
        </pc:sldMkLst>
      </pc:sldChg>
      <pc:sldChg chg="ord">
        <pc:chgData name="Oscar Llorente Gonzalez" userId="e1d48c7f-7de1-49f5-ba88-07a54202ac7d" providerId="ADAL" clId="{1EEC5D65-53DB-49BB-8210-9857D65F24AB}" dt="2024-02-07T11:15:58.401" v="1317"/>
        <pc:sldMkLst>
          <pc:docMk/>
          <pc:sldMk cId="1293046710" sldId="2147479183"/>
        </pc:sldMkLst>
      </pc:sldChg>
      <pc:sldChg chg="addCm">
        <pc:chgData name="Oscar Llorente Gonzalez" userId="e1d48c7f-7de1-49f5-ba88-07a54202ac7d" providerId="ADAL" clId="{1EEC5D65-53DB-49BB-8210-9857D65F24AB}" dt="2024-02-01T13:18:42.691" v="83"/>
        <pc:sldMkLst>
          <pc:docMk/>
          <pc:sldMk cId="2621176561" sldId="2147479188"/>
        </pc:sldMkLst>
      </pc:sldChg>
      <pc:sldChg chg="modSp mod">
        <pc:chgData name="Oscar Llorente Gonzalez" userId="e1d48c7f-7de1-49f5-ba88-07a54202ac7d" providerId="ADAL" clId="{1EEC5D65-53DB-49BB-8210-9857D65F24AB}" dt="2024-02-01T14:15:38.327" v="294" actId="20577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1EEC5D65-53DB-49BB-8210-9857D65F24AB}" dt="2024-02-01T13:08:56.493" v="41" actId="20577"/>
          <ac:spMkLst>
            <pc:docMk/>
            <pc:sldMk cId="46647062" sldId="2147479193"/>
            <ac:spMk id="4" creationId="{CF1133B3-17C3-57AA-A549-C7EA019C2094}"/>
          </ac:spMkLst>
        </pc:spChg>
        <pc:spChg chg="mod">
          <ac:chgData name="Oscar Llorente Gonzalez" userId="e1d48c7f-7de1-49f5-ba88-07a54202ac7d" providerId="ADAL" clId="{1EEC5D65-53DB-49BB-8210-9857D65F24AB}" dt="2024-02-01T13:10:11.055" v="75" actId="20577"/>
          <ac:spMkLst>
            <pc:docMk/>
            <pc:sldMk cId="46647062" sldId="2147479193"/>
            <ac:spMk id="20" creationId="{BDDCF03B-24AE-05EB-527C-A8170D91E665}"/>
          </ac:spMkLst>
        </pc:spChg>
        <pc:spChg chg="mod">
          <ac:chgData name="Oscar Llorente Gonzalez" userId="e1d48c7f-7de1-49f5-ba88-07a54202ac7d" providerId="ADAL" clId="{1EEC5D65-53DB-49BB-8210-9857D65F24AB}" dt="2024-02-01T14:15:25.791" v="285" actId="20577"/>
          <ac:spMkLst>
            <pc:docMk/>
            <pc:sldMk cId="46647062" sldId="2147479193"/>
            <ac:spMk id="22" creationId="{18B85F4C-6797-89F5-6EA7-2997BBF4E4B1}"/>
          </ac:spMkLst>
        </pc:spChg>
        <pc:spChg chg="mod">
          <ac:chgData name="Oscar Llorente Gonzalez" userId="e1d48c7f-7de1-49f5-ba88-07a54202ac7d" providerId="ADAL" clId="{1EEC5D65-53DB-49BB-8210-9857D65F24AB}" dt="2024-02-01T14:15:38.327" v="294" actId="20577"/>
          <ac:spMkLst>
            <pc:docMk/>
            <pc:sldMk cId="46647062" sldId="2147479193"/>
            <ac:spMk id="23" creationId="{15695D72-E891-28A4-9B93-F7EB42BD3606}"/>
          </ac:spMkLst>
        </pc:spChg>
      </pc:sldChg>
      <pc:sldChg chg="del">
        <pc:chgData name="Oscar Llorente Gonzalez" userId="e1d48c7f-7de1-49f5-ba88-07a54202ac7d" providerId="ADAL" clId="{1EEC5D65-53DB-49BB-8210-9857D65F24AB}" dt="2024-02-01T13:20:46.543" v="85" actId="2696"/>
        <pc:sldMkLst>
          <pc:docMk/>
          <pc:sldMk cId="1255796900" sldId="2147479348"/>
        </pc:sldMkLst>
      </pc:sldChg>
      <pc:sldChg chg="ord">
        <pc:chgData name="Oscar Llorente Gonzalez" userId="e1d48c7f-7de1-49f5-ba88-07a54202ac7d" providerId="ADAL" clId="{1EEC5D65-53DB-49BB-8210-9857D65F24AB}" dt="2024-02-07T11:15:52.987" v="1315"/>
        <pc:sldMkLst>
          <pc:docMk/>
          <pc:sldMk cId="1594342864" sldId="2147479493"/>
        </pc:sldMkLst>
      </pc:sldChg>
      <pc:sldChg chg="addSp modSp mod">
        <pc:chgData name="Oscar Llorente Gonzalez" userId="e1d48c7f-7de1-49f5-ba88-07a54202ac7d" providerId="ADAL" clId="{1EEC5D65-53DB-49BB-8210-9857D65F24AB}" dt="2024-02-01T13:14:56.351" v="80" actId="1076"/>
        <pc:sldMkLst>
          <pc:docMk/>
          <pc:sldMk cId="2286114330" sldId="2147479503"/>
        </pc:sldMkLst>
        <pc:spChg chg="mod">
          <ac:chgData name="Oscar Llorente Gonzalez" userId="e1d48c7f-7de1-49f5-ba88-07a54202ac7d" providerId="ADAL" clId="{1EEC5D65-53DB-49BB-8210-9857D65F24AB}" dt="2024-02-01T13:13:40.987" v="78" actId="20577"/>
          <ac:spMkLst>
            <pc:docMk/>
            <pc:sldMk cId="2286114330" sldId="2147479503"/>
            <ac:spMk id="2" creationId="{52653451-8EC1-BFD8-C99B-A84C64EAA0E8}"/>
          </ac:spMkLst>
        </pc:spChg>
        <pc:spChg chg="add mod">
          <ac:chgData name="Oscar Llorente Gonzalez" userId="e1d48c7f-7de1-49f5-ba88-07a54202ac7d" providerId="ADAL" clId="{1EEC5D65-53DB-49BB-8210-9857D65F24AB}" dt="2024-02-01T13:14:56.351" v="80" actId="1076"/>
          <ac:spMkLst>
            <pc:docMk/>
            <pc:sldMk cId="2286114330" sldId="2147479503"/>
            <ac:spMk id="21" creationId="{B3FF669C-F405-8F38-1176-8C3A5EAB388D}"/>
          </ac:spMkLst>
        </pc:spChg>
        <pc:picChg chg="add mod">
          <ac:chgData name="Oscar Llorente Gonzalez" userId="e1d48c7f-7de1-49f5-ba88-07a54202ac7d" providerId="ADAL" clId="{1EEC5D65-53DB-49BB-8210-9857D65F24AB}" dt="2024-02-01T13:14:56.351" v="80" actId="1076"/>
          <ac:picMkLst>
            <pc:docMk/>
            <pc:sldMk cId="2286114330" sldId="2147479503"/>
            <ac:picMk id="20" creationId="{E203806D-C9F8-31B5-D456-B0FA5F982D55}"/>
          </ac:picMkLst>
        </pc:picChg>
      </pc:sldChg>
      <pc:sldChg chg="addSp delSp modSp new mod">
        <pc:chgData name="Oscar Llorente Gonzalez" userId="e1d48c7f-7de1-49f5-ba88-07a54202ac7d" providerId="ADAL" clId="{1EEC5D65-53DB-49BB-8210-9857D65F24AB}" dt="2024-02-07T09:32:14.801" v="1169" actId="1076"/>
        <pc:sldMkLst>
          <pc:docMk/>
          <pc:sldMk cId="2088336728" sldId="2147479796"/>
        </pc:sldMkLst>
        <pc:spChg chg="mod">
          <ac:chgData name="Oscar Llorente Gonzalez" userId="e1d48c7f-7de1-49f5-ba88-07a54202ac7d" providerId="ADAL" clId="{1EEC5D65-53DB-49BB-8210-9857D65F24AB}" dt="2024-02-07T09:30:23.638" v="1158" actId="20577"/>
          <ac:spMkLst>
            <pc:docMk/>
            <pc:sldMk cId="2088336728" sldId="2147479796"/>
            <ac:spMk id="2" creationId="{7D28177E-2BA1-8CE2-C9C2-1DE71026422A}"/>
          </ac:spMkLst>
        </pc:spChg>
        <pc:spChg chg="del">
          <ac:chgData name="Oscar Llorente Gonzalez" userId="e1d48c7f-7de1-49f5-ba88-07a54202ac7d" providerId="ADAL" clId="{1EEC5D65-53DB-49BB-8210-9857D65F24AB}" dt="2024-02-07T09:30:29.599" v="1159" actId="478"/>
          <ac:spMkLst>
            <pc:docMk/>
            <pc:sldMk cId="2088336728" sldId="2147479796"/>
            <ac:spMk id="3" creationId="{78DE8CE4-1D3E-DC04-0032-F9B99B57FA1F}"/>
          </ac:spMkLst>
        </pc:spChg>
        <pc:picChg chg="add mod">
          <ac:chgData name="Oscar Llorente Gonzalez" userId="e1d48c7f-7de1-49f5-ba88-07a54202ac7d" providerId="ADAL" clId="{1EEC5D65-53DB-49BB-8210-9857D65F24AB}" dt="2024-02-07T09:32:13.581" v="1168" actId="1076"/>
          <ac:picMkLst>
            <pc:docMk/>
            <pc:sldMk cId="2088336728" sldId="2147479796"/>
            <ac:picMk id="4" creationId="{F217B40D-1B8D-D16A-5D55-EB5CC7670F6E}"/>
          </ac:picMkLst>
        </pc:picChg>
        <pc:picChg chg="add mod">
          <ac:chgData name="Oscar Llorente Gonzalez" userId="e1d48c7f-7de1-49f5-ba88-07a54202ac7d" providerId="ADAL" clId="{1EEC5D65-53DB-49BB-8210-9857D65F24AB}" dt="2024-02-07T09:32:14.801" v="1169" actId="1076"/>
          <ac:picMkLst>
            <pc:docMk/>
            <pc:sldMk cId="2088336728" sldId="2147479796"/>
            <ac:picMk id="5" creationId="{3A89B583-99D0-6372-B10B-8B964B395307}"/>
          </ac:picMkLst>
        </pc:picChg>
      </pc:sldChg>
      <pc:sldChg chg="addSp delSp modSp new mod">
        <pc:chgData name="Oscar Llorente Gonzalez" userId="e1d48c7f-7de1-49f5-ba88-07a54202ac7d" providerId="ADAL" clId="{1EEC5D65-53DB-49BB-8210-9857D65F24AB}" dt="2024-02-07T09:51:45.617" v="1312" actId="1076"/>
        <pc:sldMkLst>
          <pc:docMk/>
          <pc:sldMk cId="4045496690" sldId="2147479797"/>
        </pc:sldMkLst>
        <pc:spChg chg="del">
          <ac:chgData name="Oscar Llorente Gonzalez" userId="e1d48c7f-7de1-49f5-ba88-07a54202ac7d" providerId="ADAL" clId="{1EEC5D65-53DB-49BB-8210-9857D65F24AB}" dt="2024-02-07T09:50:23.952" v="1300" actId="478"/>
          <ac:spMkLst>
            <pc:docMk/>
            <pc:sldMk cId="4045496690" sldId="2147479797"/>
            <ac:spMk id="2" creationId="{9416800E-5DA6-984E-6036-FFDA164BD80B}"/>
          </ac:spMkLst>
        </pc:spChg>
        <pc:spChg chg="del">
          <ac:chgData name="Oscar Llorente Gonzalez" userId="e1d48c7f-7de1-49f5-ba88-07a54202ac7d" providerId="ADAL" clId="{1EEC5D65-53DB-49BB-8210-9857D65F24AB}" dt="2024-02-07T09:50:25.946" v="1301" actId="478"/>
          <ac:spMkLst>
            <pc:docMk/>
            <pc:sldMk cId="4045496690" sldId="2147479797"/>
            <ac:spMk id="3" creationId="{32FE1DBD-A00E-AE36-B405-4E9B04E81348}"/>
          </ac:spMkLst>
        </pc:spChg>
        <pc:picChg chg="add mod">
          <ac:chgData name="Oscar Llorente Gonzalez" userId="e1d48c7f-7de1-49f5-ba88-07a54202ac7d" providerId="ADAL" clId="{1EEC5D65-53DB-49BB-8210-9857D65F24AB}" dt="2024-02-07T09:50:26.969" v="1302"/>
          <ac:picMkLst>
            <pc:docMk/>
            <pc:sldMk cId="4045496690" sldId="2147479797"/>
            <ac:picMk id="4" creationId="{60D84E34-431F-1C35-24DD-A7B168A06F8A}"/>
          </ac:picMkLst>
        </pc:picChg>
        <pc:picChg chg="add del mod">
          <ac:chgData name="Oscar Llorente Gonzalez" userId="e1d48c7f-7de1-49f5-ba88-07a54202ac7d" providerId="ADAL" clId="{1EEC5D65-53DB-49BB-8210-9857D65F24AB}" dt="2024-02-07T09:50:35.393" v="1304"/>
          <ac:picMkLst>
            <pc:docMk/>
            <pc:sldMk cId="4045496690" sldId="2147479797"/>
            <ac:picMk id="5" creationId="{CE05BC05-42E0-6498-4B02-52C470220C84}"/>
          </ac:picMkLst>
        </pc:picChg>
        <pc:picChg chg="add mod">
          <ac:chgData name="Oscar Llorente Gonzalez" userId="e1d48c7f-7de1-49f5-ba88-07a54202ac7d" providerId="ADAL" clId="{1EEC5D65-53DB-49BB-8210-9857D65F24AB}" dt="2024-02-07T09:51:45.617" v="1312" actId="1076"/>
          <ac:picMkLst>
            <pc:docMk/>
            <pc:sldMk cId="4045496690" sldId="2147479797"/>
            <ac:picMk id="6" creationId="{8C235722-54FE-A752-441A-E6442002CDEE}"/>
          </ac:picMkLst>
        </pc:picChg>
      </pc:sldChg>
      <pc:sldMasterChg chg="addSp modSp mod delSldLayout modSldLayout">
        <pc:chgData name="Oscar Llorente Gonzalez" userId="e1d48c7f-7de1-49f5-ba88-07a54202ac7d" providerId="ADAL" clId="{1EEC5D65-53DB-49BB-8210-9857D65F24AB}" dt="2024-02-07T09:42:48.730" v="1297" actId="478"/>
        <pc:sldMasterMkLst>
          <pc:docMk/>
          <pc:sldMasterMk cId="2523064765" sldId="2147483660"/>
        </pc:sldMasterMkLst>
        <pc:spChg chg="add mod">
          <ac:chgData name="Oscar Llorente Gonzalez" userId="e1d48c7f-7de1-49f5-ba88-07a54202ac7d" providerId="ADAL" clId="{1EEC5D65-53DB-49BB-8210-9857D65F24AB}" dt="2024-02-07T09:39:41.937" v="1296" actId="20577"/>
          <ac:spMkLst>
            <pc:docMk/>
            <pc:sldMasterMk cId="2523064765" sldId="2147483660"/>
            <ac:spMk id="3" creationId="{09012E2B-7DCF-CCE4-99AD-75F3525E5BFE}"/>
          </ac:spMkLst>
        </pc:spChg>
        <pc:sldLayoutChg chg="delSp modSp mod">
          <pc:chgData name="Oscar Llorente Gonzalez" userId="e1d48c7f-7de1-49f5-ba88-07a54202ac7d" providerId="ADAL" clId="{1EEC5D65-53DB-49BB-8210-9857D65F24AB}" dt="2024-02-07T09:37:53.594" v="1282" actId="478"/>
          <pc:sldLayoutMkLst>
            <pc:docMk/>
            <pc:sldMasterMk cId="2523064765" sldId="2147483660"/>
            <pc:sldLayoutMk cId="1374575616" sldId="2147483661"/>
          </pc:sldLayoutMkLst>
          <pc:spChg chg="del mod">
            <ac:chgData name="Oscar Llorente Gonzalez" userId="e1d48c7f-7de1-49f5-ba88-07a54202ac7d" providerId="ADAL" clId="{1EEC5D65-53DB-49BB-8210-9857D65F24AB}" dt="2024-02-07T09:37:53.594" v="1282" actId="478"/>
            <ac:spMkLst>
              <pc:docMk/>
              <pc:sldMasterMk cId="2523064765" sldId="2147483660"/>
              <pc:sldLayoutMk cId="1374575616" sldId="2147483661"/>
              <ac:spMk id="9" creationId="{72C1EE1F-EF94-4EBA-A010-8BC3D2F38C39}"/>
            </ac:spMkLst>
          </pc:spChg>
        </pc:sldLayoutChg>
        <pc:sldLayoutChg chg="delSp modSp mod">
          <pc:chgData name="Oscar Llorente Gonzalez" userId="e1d48c7f-7de1-49f5-ba88-07a54202ac7d" providerId="ADAL" clId="{1EEC5D65-53DB-49BB-8210-9857D65F24AB}" dt="2024-02-07T09:38:18.162" v="1284" actId="478"/>
          <pc:sldLayoutMkLst>
            <pc:docMk/>
            <pc:sldMasterMk cId="2523064765" sldId="2147483660"/>
            <pc:sldLayoutMk cId="3415456144" sldId="2147483673"/>
          </pc:sldLayoutMkLst>
          <pc:spChg chg="del mod">
            <ac:chgData name="Oscar Llorente Gonzalez" userId="e1d48c7f-7de1-49f5-ba88-07a54202ac7d" providerId="ADAL" clId="{1EEC5D65-53DB-49BB-8210-9857D65F24AB}" dt="2024-02-07T09:38:18.162" v="1284" actId="478"/>
            <ac:spMkLst>
              <pc:docMk/>
              <pc:sldMasterMk cId="2523064765" sldId="2147483660"/>
              <pc:sldLayoutMk cId="3415456144" sldId="2147483673"/>
              <ac:spMk id="3" creationId="{C44ECCE6-4D94-443E-8C20-CA233A5C0572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25" v="1031" actId="20577"/>
          <pc:sldLayoutMkLst>
            <pc:docMk/>
            <pc:sldMasterMk cId="2523064765" sldId="2147483660"/>
            <pc:sldLayoutMk cId="675883818" sldId="2147483675"/>
          </pc:sldLayoutMkLst>
          <pc:spChg chg="mod">
            <ac:chgData name="Oscar Llorente Gonzalez" userId="e1d48c7f-7de1-49f5-ba88-07a54202ac7d" providerId="ADAL" clId="{1EEC5D65-53DB-49BB-8210-9857D65F24AB}" dt="2024-02-07T09:30:04.925" v="1031" actId="20577"/>
            <ac:spMkLst>
              <pc:docMk/>
              <pc:sldMasterMk cId="2523064765" sldId="2147483660"/>
              <pc:sldLayoutMk cId="675883818" sldId="2147483675"/>
              <ac:spMk id="8" creationId="{53797230-5A6C-4718-8C90-CB9F2709B382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42" v="1039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1EEC5D65-53DB-49BB-8210-9857D65F24AB}" dt="2024-02-07T09:30:04.942" v="1039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58" v="1047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1EEC5D65-53DB-49BB-8210-9857D65F24AB}" dt="2024-02-07T09:30:04.958" v="1047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57" v="1043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1EEC5D65-53DB-49BB-8210-9857D65F24AB}" dt="2024-02-07T09:30:04.957" v="1043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  <pc:sldLayoutChg chg="delSp modSp mod">
          <pc:chgData name="Oscar Llorente Gonzalez" userId="e1d48c7f-7de1-49f5-ba88-07a54202ac7d" providerId="ADAL" clId="{1EEC5D65-53DB-49BB-8210-9857D65F24AB}" dt="2024-02-07T09:38:44.891" v="1285" actId="478"/>
          <pc:sldLayoutMkLst>
            <pc:docMk/>
            <pc:sldMasterMk cId="2523064765" sldId="2147483660"/>
            <pc:sldLayoutMk cId="3607999529" sldId="2147483694"/>
          </pc:sldLayoutMkLst>
          <pc:spChg chg="del mod">
            <ac:chgData name="Oscar Llorente Gonzalez" userId="e1d48c7f-7de1-49f5-ba88-07a54202ac7d" providerId="ADAL" clId="{1EEC5D65-53DB-49BB-8210-9857D65F24AB}" dt="2024-02-07T09:38:44.891" v="1285" actId="478"/>
            <ac:spMkLst>
              <pc:docMk/>
              <pc:sldMasterMk cId="2523064765" sldId="2147483660"/>
              <pc:sldLayoutMk cId="3607999529" sldId="2147483694"/>
              <ac:spMk id="7" creationId="{DB8BC610-C1B0-4C6A-B5C2-80DA487CE5DE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25" v="1035" actId="20577"/>
          <pc:sldLayoutMkLst>
            <pc:docMk/>
            <pc:sldMasterMk cId="2523064765" sldId="2147483660"/>
            <pc:sldLayoutMk cId="3545725332" sldId="2147483696"/>
          </pc:sldLayoutMkLst>
          <pc:spChg chg="mod">
            <ac:chgData name="Oscar Llorente Gonzalez" userId="e1d48c7f-7de1-49f5-ba88-07a54202ac7d" providerId="ADAL" clId="{1EEC5D65-53DB-49BB-8210-9857D65F24AB}" dt="2024-02-07T09:30:04.925" v="1035" actId="20577"/>
            <ac:spMkLst>
              <pc:docMk/>
              <pc:sldMasterMk cId="2523064765" sldId="2147483660"/>
              <pc:sldLayoutMk cId="3545725332" sldId="2147483696"/>
              <ac:spMk id="9" creationId="{2C8570FA-FAA3-4EFA-A4F1-01C285AE39DE}"/>
            </ac:spMkLst>
          </pc:spChg>
        </pc:sldLayoutChg>
        <pc:sldLayoutChg chg="addSp delSp modSp mod">
          <pc:chgData name="Oscar Llorente Gonzalez" userId="e1d48c7f-7de1-49f5-ba88-07a54202ac7d" providerId="ADAL" clId="{1EEC5D65-53DB-49BB-8210-9857D65F24AB}" dt="2024-02-07T09:42:48.730" v="1297" actId="478"/>
          <pc:sldLayoutMkLst>
            <pc:docMk/>
            <pc:sldMasterMk cId="2523064765" sldId="2147483660"/>
            <pc:sldLayoutMk cId="3443338964" sldId="2147483706"/>
          </pc:sldLayoutMkLst>
          <pc:spChg chg="add del mod">
            <ac:chgData name="Oscar Llorente Gonzalez" userId="e1d48c7f-7de1-49f5-ba88-07a54202ac7d" providerId="ADAL" clId="{1EEC5D65-53DB-49BB-8210-9857D65F24AB}" dt="2024-02-07T09:42:48.730" v="1297" actId="478"/>
            <ac:spMkLst>
              <pc:docMk/>
              <pc:sldMasterMk cId="2523064765" sldId="2147483660"/>
              <pc:sldLayoutMk cId="3443338964" sldId="2147483706"/>
              <ac:spMk id="2" creationId="{08A389C1-6955-4C7E-D804-6EA4027D6432}"/>
            </ac:spMkLst>
          </pc:spChg>
          <pc:spChg chg="del mod">
            <ac:chgData name="Oscar Llorente Gonzalez" userId="e1d48c7f-7de1-49f5-ba88-07a54202ac7d" providerId="ADAL" clId="{1EEC5D65-53DB-49BB-8210-9857D65F24AB}" dt="2024-02-07T09:36:42.899" v="1279" actId="478"/>
            <ac:spMkLst>
              <pc:docMk/>
              <pc:sldMasterMk cId="2523064765" sldId="2147483660"/>
              <pc:sldLayoutMk cId="3443338964" sldId="2147483706"/>
              <ac:spMk id="8" creationId="{C2AD0284-E6BA-49D8-AB3F-D94DBB1D54F0}"/>
            </ac:spMkLst>
          </pc:spChg>
        </pc:sldLayoutChg>
        <pc:sldLayoutChg chg="addSp delSp modSp mod">
          <pc:chgData name="Oscar Llorente Gonzalez" userId="e1d48c7f-7de1-49f5-ba88-07a54202ac7d" providerId="ADAL" clId="{1EEC5D65-53DB-49BB-8210-9857D65F24AB}" dt="2024-02-07T09:36:33.037" v="1278"/>
          <pc:sldLayoutMkLst>
            <pc:docMk/>
            <pc:sldMasterMk cId="2523064765" sldId="2147483660"/>
            <pc:sldLayoutMk cId="395415313" sldId="2147483707"/>
          </pc:sldLayoutMkLst>
          <pc:spChg chg="del mod">
            <ac:chgData name="Oscar Llorente Gonzalez" userId="e1d48c7f-7de1-49f5-ba88-07a54202ac7d" providerId="ADAL" clId="{1EEC5D65-53DB-49BB-8210-9857D65F24AB}" dt="2024-02-07T09:36:32.740" v="1277" actId="478"/>
            <ac:spMkLst>
              <pc:docMk/>
              <pc:sldMasterMk cId="2523064765" sldId="2147483660"/>
              <pc:sldLayoutMk cId="395415313" sldId="2147483707"/>
              <ac:spMk id="2" creationId="{69F42FFA-3DFB-4DB2-A942-F02200203C82}"/>
            </ac:spMkLst>
          </pc:spChg>
          <pc:spChg chg="add mod">
            <ac:chgData name="Oscar Llorente Gonzalez" userId="e1d48c7f-7de1-49f5-ba88-07a54202ac7d" providerId="ADAL" clId="{1EEC5D65-53DB-49BB-8210-9857D65F24AB}" dt="2024-02-07T09:36:33.037" v="1278"/>
            <ac:spMkLst>
              <pc:docMk/>
              <pc:sldMasterMk cId="2523064765" sldId="2147483660"/>
              <pc:sldLayoutMk cId="395415313" sldId="2147483707"/>
              <ac:spMk id="3" creationId="{0CDCA974-97F4-E46C-64E9-AFF9636E50D8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890" v="1015" actId="20577"/>
          <pc:sldLayoutMkLst>
            <pc:docMk/>
            <pc:sldMasterMk cId="2523064765" sldId="2147483660"/>
            <pc:sldLayoutMk cId="3084474769" sldId="2147483709"/>
          </pc:sldLayoutMkLst>
          <pc:spChg chg="mod">
            <ac:chgData name="Oscar Llorente Gonzalez" userId="e1d48c7f-7de1-49f5-ba88-07a54202ac7d" providerId="ADAL" clId="{1EEC5D65-53DB-49BB-8210-9857D65F24AB}" dt="2024-02-07T09:30:04.890" v="1015" actId="20577"/>
            <ac:spMkLst>
              <pc:docMk/>
              <pc:sldMasterMk cId="2523064765" sldId="2147483660"/>
              <pc:sldLayoutMk cId="3084474769" sldId="2147483709"/>
              <ac:spMk id="5" creationId="{203FD5EF-20DB-46AB-B412-DF9112353719}"/>
            </ac:spMkLst>
          </pc:spChg>
        </pc:sldLayoutChg>
        <pc:sldLayoutChg chg="del">
          <pc:chgData name="Oscar Llorente Gonzalez" userId="e1d48c7f-7de1-49f5-ba88-07a54202ac7d" providerId="ADAL" clId="{1EEC5D65-53DB-49BB-8210-9857D65F24AB}" dt="2024-02-01T13:20:46.543" v="85" actId="2696"/>
          <pc:sldLayoutMkLst>
            <pc:docMk/>
            <pc:sldMasterMk cId="2523064765" sldId="2147483660"/>
            <pc:sldLayoutMk cId="3694931497" sldId="2147483874"/>
          </pc:sldLayoutMkLst>
        </pc:sldLayoutChg>
      </pc:sldMasterChg>
      <pc:sldMasterChg chg="modSp mod modSldLayout">
        <pc:chgData name="Oscar Llorente Gonzalez" userId="e1d48c7f-7de1-49f5-ba88-07a54202ac7d" providerId="ADAL" clId="{1EEC5D65-53DB-49BB-8210-9857D65F24AB}" dt="2024-02-07T09:30:05.324" v="1143" actId="20577"/>
        <pc:sldMasterMkLst>
          <pc:docMk/>
          <pc:sldMasterMk cId="4061182373" sldId="2147483765"/>
        </pc:sldMasterMkLst>
        <pc:spChg chg="mod">
          <ac:chgData name="Oscar Llorente Gonzalez" userId="e1d48c7f-7de1-49f5-ba88-07a54202ac7d" providerId="ADAL" clId="{1EEC5D65-53DB-49BB-8210-9857D65F24AB}" dt="2024-02-07T09:30:04.974" v="1051" actId="20577"/>
          <ac:spMkLst>
            <pc:docMk/>
            <pc:sldMasterMk cId="4061182373" sldId="2147483765"/>
            <ac:spMk id="3" creationId="{E3471590-ED9A-9FA7-2BE4-D0B96AD628B1}"/>
          </ac:spMkLst>
        </pc:spChg>
        <pc:sldLayoutChg chg="modSp">
          <pc:chgData name="Oscar Llorente Gonzalez" userId="e1d48c7f-7de1-49f5-ba88-07a54202ac7d" providerId="ADAL" clId="{1EEC5D65-53DB-49BB-8210-9857D65F24AB}" dt="2024-02-07T08:46:36.933" v="863" actId="1076"/>
          <pc:sldLayoutMkLst>
            <pc:docMk/>
            <pc:sldMasterMk cId="4061182373" sldId="2147483765"/>
            <pc:sldLayoutMk cId="1977142871" sldId="2147483767"/>
          </pc:sldLayoutMkLst>
          <pc:picChg chg="mod">
            <ac:chgData name="Oscar Llorente Gonzalez" userId="e1d48c7f-7de1-49f5-ba88-07a54202ac7d" providerId="ADAL" clId="{1EEC5D65-53DB-49BB-8210-9857D65F24AB}" dt="2024-02-07T08:46:36.933" v="863" actId="1076"/>
            <ac:picMkLst>
              <pc:docMk/>
              <pc:sldMasterMk cId="4061182373" sldId="2147483765"/>
              <pc:sldLayoutMk cId="1977142871" sldId="2147483767"/>
              <ac:picMk id="2" creationId="{0894968E-407B-1ACA-6FFF-45BD48CE3BA0}"/>
            </ac:picMkLst>
          </pc:picChg>
        </pc:sldLayoutChg>
        <pc:sldLayoutChg chg="addSp delSp modSp">
          <pc:chgData name="Oscar Llorente Gonzalez" userId="e1d48c7f-7de1-49f5-ba88-07a54202ac7d" providerId="ADAL" clId="{1EEC5D65-53DB-49BB-8210-9857D65F24AB}" dt="2024-02-06T20:21:01.634" v="722" actId="478"/>
          <pc:sldLayoutMkLst>
            <pc:docMk/>
            <pc:sldMasterMk cId="4061182373" sldId="2147483765"/>
            <pc:sldLayoutMk cId="3732486968" sldId="2147483770"/>
          </pc:sldLayoutMkLst>
          <pc:picChg chg="add del mod">
            <ac:chgData name="Oscar Llorente Gonzalez" userId="e1d48c7f-7de1-49f5-ba88-07a54202ac7d" providerId="ADAL" clId="{1EEC5D65-53DB-49BB-8210-9857D65F24AB}" dt="2024-02-06T20:21:01.634" v="722" actId="478"/>
            <ac:picMkLst>
              <pc:docMk/>
              <pc:sldMasterMk cId="4061182373" sldId="2147483765"/>
              <pc:sldLayoutMk cId="3732486968" sldId="2147483770"/>
              <ac:picMk id="2" creationId="{29DD89A6-31CD-3703-B56B-42BC0382FFD0}"/>
            </ac:picMkLst>
          </pc:picChg>
        </pc:sldLayoutChg>
        <pc:sldLayoutChg chg="modSp mod">
          <pc:chgData name="Oscar Llorente Gonzalez" userId="e1d48c7f-7de1-49f5-ba88-07a54202ac7d" providerId="ADAL" clId="{1EEC5D65-53DB-49BB-8210-9857D65F24AB}" dt="2024-02-07T09:30:04.979" v="1055" actId="20577"/>
          <pc:sldLayoutMkLst>
            <pc:docMk/>
            <pc:sldMasterMk cId="4061182373" sldId="2147483765"/>
            <pc:sldLayoutMk cId="2458328145" sldId="2147483775"/>
          </pc:sldLayoutMkLst>
          <pc:spChg chg="mod">
            <ac:chgData name="Oscar Llorente Gonzalez" userId="e1d48c7f-7de1-49f5-ba88-07a54202ac7d" providerId="ADAL" clId="{1EEC5D65-53DB-49BB-8210-9857D65F24AB}" dt="2024-02-07T09:30:04.979" v="1055" actId="20577"/>
            <ac:spMkLst>
              <pc:docMk/>
              <pc:sldMasterMk cId="4061182373" sldId="2147483765"/>
              <pc:sldLayoutMk cId="2458328145" sldId="2147483775"/>
              <ac:spMk id="3" creationId="{B37BE219-A728-B744-8597-25C7895C902E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95" v="1059" actId="20577"/>
          <pc:sldLayoutMkLst>
            <pc:docMk/>
            <pc:sldMasterMk cId="4061182373" sldId="2147483765"/>
            <pc:sldLayoutMk cId="2991321209" sldId="2147483776"/>
          </pc:sldLayoutMkLst>
          <pc:spChg chg="mod">
            <ac:chgData name="Oscar Llorente Gonzalez" userId="e1d48c7f-7de1-49f5-ba88-07a54202ac7d" providerId="ADAL" clId="{1EEC5D65-53DB-49BB-8210-9857D65F24AB}" dt="2024-02-07T09:30:04.995" v="1059" actId="20577"/>
            <ac:spMkLst>
              <pc:docMk/>
              <pc:sldMasterMk cId="4061182373" sldId="2147483765"/>
              <pc:sldLayoutMk cId="2991321209" sldId="2147483776"/>
              <ac:spMk id="5" creationId="{314302EF-3256-D2FA-5C50-5D29E26F422A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4.995" v="1063" actId="20577"/>
          <pc:sldLayoutMkLst>
            <pc:docMk/>
            <pc:sldMasterMk cId="4061182373" sldId="2147483765"/>
            <pc:sldLayoutMk cId="515948995" sldId="2147483777"/>
          </pc:sldLayoutMkLst>
          <pc:spChg chg="mod">
            <ac:chgData name="Oscar Llorente Gonzalez" userId="e1d48c7f-7de1-49f5-ba88-07a54202ac7d" providerId="ADAL" clId="{1EEC5D65-53DB-49BB-8210-9857D65F24AB}" dt="2024-02-07T09:30:04.995" v="1063" actId="20577"/>
            <ac:spMkLst>
              <pc:docMk/>
              <pc:sldMasterMk cId="4061182373" sldId="2147483765"/>
              <pc:sldLayoutMk cId="515948995" sldId="2147483777"/>
              <ac:spMk id="5" creationId="{1F114614-E5B1-476B-1E9E-776F57CE0894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019" v="1067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1EEC5D65-53DB-49BB-8210-9857D65F24AB}" dt="2024-02-07T09:30:05.019" v="1067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023" v="1071" actId="20577"/>
          <pc:sldLayoutMkLst>
            <pc:docMk/>
            <pc:sldMasterMk cId="4061182373" sldId="2147483765"/>
            <pc:sldLayoutMk cId="1092349489" sldId="2147483782"/>
          </pc:sldLayoutMkLst>
          <pc:spChg chg="mod">
            <ac:chgData name="Oscar Llorente Gonzalez" userId="e1d48c7f-7de1-49f5-ba88-07a54202ac7d" providerId="ADAL" clId="{1EEC5D65-53DB-49BB-8210-9857D65F24AB}" dt="2024-02-07T09:30:05.023" v="1071" actId="20577"/>
            <ac:spMkLst>
              <pc:docMk/>
              <pc:sldMasterMk cId="4061182373" sldId="2147483765"/>
              <pc:sldLayoutMk cId="1092349489" sldId="2147483782"/>
              <ac:spMk id="3" creationId="{22DEDE2C-83D6-5EB2-DB57-1B38A95E15EC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057" v="1075" actId="20577"/>
          <pc:sldLayoutMkLst>
            <pc:docMk/>
            <pc:sldMasterMk cId="4061182373" sldId="2147483765"/>
            <pc:sldLayoutMk cId="3518373976" sldId="2147483801"/>
          </pc:sldLayoutMkLst>
          <pc:spChg chg="mod">
            <ac:chgData name="Oscar Llorente Gonzalez" userId="e1d48c7f-7de1-49f5-ba88-07a54202ac7d" providerId="ADAL" clId="{1EEC5D65-53DB-49BB-8210-9857D65F24AB}" dt="2024-02-07T09:30:05.057" v="1075" actId="20577"/>
            <ac:spMkLst>
              <pc:docMk/>
              <pc:sldMasterMk cId="4061182373" sldId="2147483765"/>
              <pc:sldLayoutMk cId="3518373976" sldId="2147483801"/>
              <ac:spMk id="5" creationId="{8A859F72-32B2-47EB-8CB5-BCF639CDADF5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067" v="1079" actId="20577"/>
          <pc:sldLayoutMkLst>
            <pc:docMk/>
            <pc:sldMasterMk cId="4061182373" sldId="2147483765"/>
            <pc:sldLayoutMk cId="1623742912" sldId="2147483802"/>
          </pc:sldLayoutMkLst>
          <pc:spChg chg="mod">
            <ac:chgData name="Oscar Llorente Gonzalez" userId="e1d48c7f-7de1-49f5-ba88-07a54202ac7d" providerId="ADAL" clId="{1EEC5D65-53DB-49BB-8210-9857D65F24AB}" dt="2024-02-07T09:30:05.067" v="1079" actId="20577"/>
            <ac:spMkLst>
              <pc:docMk/>
              <pc:sldMasterMk cId="4061182373" sldId="2147483765"/>
              <pc:sldLayoutMk cId="1623742912" sldId="2147483802"/>
              <ac:spMk id="3" creationId="{C44ECCE6-4D94-443E-8C20-CA233A5C0572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07" v="1083" actId="20577"/>
          <pc:sldLayoutMkLst>
            <pc:docMk/>
            <pc:sldMasterMk cId="4061182373" sldId="2147483765"/>
            <pc:sldLayoutMk cId="1461235300" sldId="2147483821"/>
          </pc:sldLayoutMkLst>
          <pc:spChg chg="mod">
            <ac:chgData name="Oscar Llorente Gonzalez" userId="e1d48c7f-7de1-49f5-ba88-07a54202ac7d" providerId="ADAL" clId="{1EEC5D65-53DB-49BB-8210-9857D65F24AB}" dt="2024-02-07T09:30:05.107" v="1083" actId="20577"/>
            <ac:spMkLst>
              <pc:docMk/>
              <pc:sldMasterMk cId="4061182373" sldId="2147483765"/>
              <pc:sldLayoutMk cId="1461235300" sldId="2147483821"/>
              <ac:spMk id="3" creationId="{C44ECCE6-4D94-443E-8C20-CA233A5C0572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07" v="1087" actId="20577"/>
          <pc:sldLayoutMkLst>
            <pc:docMk/>
            <pc:sldMasterMk cId="4061182373" sldId="2147483765"/>
            <pc:sldLayoutMk cId="2881847180" sldId="2147483822"/>
          </pc:sldLayoutMkLst>
          <pc:spChg chg="mod">
            <ac:chgData name="Oscar Llorente Gonzalez" userId="e1d48c7f-7de1-49f5-ba88-07a54202ac7d" providerId="ADAL" clId="{1EEC5D65-53DB-49BB-8210-9857D65F24AB}" dt="2024-02-07T09:30:05.107" v="1087" actId="20577"/>
            <ac:spMkLst>
              <pc:docMk/>
              <pc:sldMasterMk cId="4061182373" sldId="2147483765"/>
              <pc:sldLayoutMk cId="2881847180" sldId="2147483822"/>
              <ac:spMk id="9" creationId="{72C1EE1F-EF94-4EBA-A010-8BC3D2F38C39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24" v="1091" actId="20577"/>
          <pc:sldLayoutMkLst>
            <pc:docMk/>
            <pc:sldMasterMk cId="4061182373" sldId="2147483765"/>
            <pc:sldLayoutMk cId="19749786" sldId="2147483823"/>
          </pc:sldLayoutMkLst>
          <pc:spChg chg="mod">
            <ac:chgData name="Oscar Llorente Gonzalez" userId="e1d48c7f-7de1-49f5-ba88-07a54202ac7d" providerId="ADAL" clId="{1EEC5D65-53DB-49BB-8210-9857D65F24AB}" dt="2024-02-07T09:30:05.124" v="1091" actId="20577"/>
            <ac:spMkLst>
              <pc:docMk/>
              <pc:sldMasterMk cId="4061182373" sldId="2147483765"/>
              <pc:sldLayoutMk cId="19749786" sldId="2147483823"/>
              <ac:spMk id="5" creationId="{203FD5EF-20DB-46AB-B412-DF9112353719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24" v="1095" actId="20577"/>
          <pc:sldLayoutMkLst>
            <pc:docMk/>
            <pc:sldMasterMk cId="4061182373" sldId="2147483765"/>
            <pc:sldLayoutMk cId="2795526763" sldId="2147483824"/>
          </pc:sldLayoutMkLst>
          <pc:spChg chg="mod">
            <ac:chgData name="Oscar Llorente Gonzalez" userId="e1d48c7f-7de1-49f5-ba88-07a54202ac7d" providerId="ADAL" clId="{1EEC5D65-53DB-49BB-8210-9857D65F24AB}" dt="2024-02-07T09:30:05.124" v="1095" actId="20577"/>
            <ac:spMkLst>
              <pc:docMk/>
              <pc:sldMasterMk cId="4061182373" sldId="2147483765"/>
              <pc:sldLayoutMk cId="2795526763" sldId="2147483824"/>
              <ac:spMk id="3" creationId="{C44ECCE6-4D94-443E-8C20-CA233A5C0572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40" v="1099" actId="20577"/>
          <pc:sldLayoutMkLst>
            <pc:docMk/>
            <pc:sldMasterMk cId="4061182373" sldId="2147483765"/>
            <pc:sldLayoutMk cId="186073884" sldId="2147483825"/>
          </pc:sldLayoutMkLst>
          <pc:spChg chg="mod">
            <ac:chgData name="Oscar Llorente Gonzalez" userId="e1d48c7f-7de1-49f5-ba88-07a54202ac7d" providerId="ADAL" clId="{1EEC5D65-53DB-49BB-8210-9857D65F24AB}" dt="2024-02-07T09:30:05.140" v="1099" actId="20577"/>
            <ac:spMkLst>
              <pc:docMk/>
              <pc:sldMasterMk cId="4061182373" sldId="2147483765"/>
              <pc:sldLayoutMk cId="186073884" sldId="2147483825"/>
              <ac:spMk id="8" creationId="{C2AD0284-E6BA-49D8-AB3F-D94DBB1D54F0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57" v="1103" actId="20577"/>
          <pc:sldLayoutMkLst>
            <pc:docMk/>
            <pc:sldMasterMk cId="4061182373" sldId="2147483765"/>
            <pc:sldLayoutMk cId="3364640623" sldId="2147483826"/>
          </pc:sldLayoutMkLst>
          <pc:spChg chg="mod">
            <ac:chgData name="Oscar Llorente Gonzalez" userId="e1d48c7f-7de1-49f5-ba88-07a54202ac7d" providerId="ADAL" clId="{1EEC5D65-53DB-49BB-8210-9857D65F24AB}" dt="2024-02-07T09:30:05.157" v="1103" actId="20577"/>
            <ac:spMkLst>
              <pc:docMk/>
              <pc:sldMasterMk cId="4061182373" sldId="2147483765"/>
              <pc:sldLayoutMk cId="3364640623" sldId="2147483826"/>
              <ac:spMk id="7" creationId="{DB8BC610-C1B0-4C6A-B5C2-80DA487CE5DE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57" v="1107" actId="20577"/>
          <pc:sldLayoutMkLst>
            <pc:docMk/>
            <pc:sldMasterMk cId="4061182373" sldId="2147483765"/>
            <pc:sldLayoutMk cId="442173529" sldId="2147483827"/>
          </pc:sldLayoutMkLst>
          <pc:spChg chg="mod">
            <ac:chgData name="Oscar Llorente Gonzalez" userId="e1d48c7f-7de1-49f5-ba88-07a54202ac7d" providerId="ADAL" clId="{1EEC5D65-53DB-49BB-8210-9857D65F24AB}" dt="2024-02-07T09:30:05.157" v="1107" actId="20577"/>
            <ac:spMkLst>
              <pc:docMk/>
              <pc:sldMasterMk cId="4061182373" sldId="2147483765"/>
              <pc:sldLayoutMk cId="442173529" sldId="2147483827"/>
              <ac:spMk id="8" creationId="{53797230-5A6C-4718-8C90-CB9F2709B382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73" v="1111" actId="20577"/>
          <pc:sldLayoutMkLst>
            <pc:docMk/>
            <pc:sldMasterMk cId="4061182373" sldId="2147483765"/>
            <pc:sldLayoutMk cId="3245256019" sldId="2147483828"/>
          </pc:sldLayoutMkLst>
          <pc:spChg chg="mod">
            <ac:chgData name="Oscar Llorente Gonzalez" userId="e1d48c7f-7de1-49f5-ba88-07a54202ac7d" providerId="ADAL" clId="{1EEC5D65-53DB-49BB-8210-9857D65F24AB}" dt="2024-02-07T09:30:05.173" v="1111" actId="20577"/>
            <ac:spMkLst>
              <pc:docMk/>
              <pc:sldMasterMk cId="4061182373" sldId="2147483765"/>
              <pc:sldLayoutMk cId="3245256019" sldId="2147483828"/>
              <ac:spMk id="9" creationId="{2C8570FA-FAA3-4EFA-A4F1-01C285AE39DE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73" v="1115" actId="20577"/>
          <pc:sldLayoutMkLst>
            <pc:docMk/>
            <pc:sldMasterMk cId="4061182373" sldId="2147483765"/>
            <pc:sldLayoutMk cId="740314404" sldId="2147483829"/>
          </pc:sldLayoutMkLst>
          <pc:spChg chg="mod">
            <ac:chgData name="Oscar Llorente Gonzalez" userId="e1d48c7f-7de1-49f5-ba88-07a54202ac7d" providerId="ADAL" clId="{1EEC5D65-53DB-49BB-8210-9857D65F24AB}" dt="2024-02-07T09:30:05.173" v="1115" actId="20577"/>
            <ac:spMkLst>
              <pc:docMk/>
              <pc:sldMasterMk cId="4061182373" sldId="2147483765"/>
              <pc:sldLayoutMk cId="740314404" sldId="2147483829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91" v="1119" actId="20577"/>
          <pc:sldLayoutMkLst>
            <pc:docMk/>
            <pc:sldMasterMk cId="4061182373" sldId="2147483765"/>
            <pc:sldLayoutMk cId="3035770219" sldId="2147483830"/>
          </pc:sldLayoutMkLst>
          <pc:spChg chg="mod">
            <ac:chgData name="Oscar Llorente Gonzalez" userId="e1d48c7f-7de1-49f5-ba88-07a54202ac7d" providerId="ADAL" clId="{1EEC5D65-53DB-49BB-8210-9857D65F24AB}" dt="2024-02-07T09:30:05.191" v="1119" actId="20577"/>
            <ac:spMkLst>
              <pc:docMk/>
              <pc:sldMasterMk cId="4061182373" sldId="2147483765"/>
              <pc:sldLayoutMk cId="3035770219" sldId="2147483830"/>
              <ac:spMk id="10" creationId="{549048C1-340D-44C4-857B-1B201EC9A7E7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191" v="1123" actId="20577"/>
          <pc:sldLayoutMkLst>
            <pc:docMk/>
            <pc:sldMasterMk cId="4061182373" sldId="2147483765"/>
            <pc:sldLayoutMk cId="2372352142" sldId="2147483831"/>
          </pc:sldLayoutMkLst>
          <pc:spChg chg="mod">
            <ac:chgData name="Oscar Llorente Gonzalez" userId="e1d48c7f-7de1-49f5-ba88-07a54202ac7d" providerId="ADAL" clId="{1EEC5D65-53DB-49BB-8210-9857D65F24AB}" dt="2024-02-07T09:30:05.191" v="1123" actId="20577"/>
            <ac:spMkLst>
              <pc:docMk/>
              <pc:sldMasterMk cId="4061182373" sldId="2147483765"/>
              <pc:sldLayoutMk cId="2372352142" sldId="214748383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208" v="1127" actId="20577"/>
          <pc:sldLayoutMkLst>
            <pc:docMk/>
            <pc:sldMasterMk cId="4061182373" sldId="2147483765"/>
            <pc:sldLayoutMk cId="980170257" sldId="2147483832"/>
          </pc:sldLayoutMkLst>
          <pc:spChg chg="mod">
            <ac:chgData name="Oscar Llorente Gonzalez" userId="e1d48c7f-7de1-49f5-ba88-07a54202ac7d" providerId="ADAL" clId="{1EEC5D65-53DB-49BB-8210-9857D65F24AB}" dt="2024-02-07T09:30:05.208" v="1127" actId="20577"/>
            <ac:spMkLst>
              <pc:docMk/>
              <pc:sldMasterMk cId="4061182373" sldId="2147483765"/>
              <pc:sldLayoutMk cId="980170257" sldId="2147483832"/>
              <ac:spMk id="5" creationId="{8A859F72-32B2-47EB-8CB5-BCF639CDADF5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250" v="1131" actId="20577"/>
          <pc:sldLayoutMkLst>
            <pc:docMk/>
            <pc:sldMasterMk cId="4061182373" sldId="2147483765"/>
            <pc:sldLayoutMk cId="3249480313" sldId="2147483845"/>
          </pc:sldLayoutMkLst>
          <pc:spChg chg="mod">
            <ac:chgData name="Oscar Llorente Gonzalez" userId="e1d48c7f-7de1-49f5-ba88-07a54202ac7d" providerId="ADAL" clId="{1EEC5D65-53DB-49BB-8210-9857D65F24AB}" dt="2024-02-07T09:30:05.250" v="1131" actId="20577"/>
            <ac:spMkLst>
              <pc:docMk/>
              <pc:sldMasterMk cId="4061182373" sldId="2147483765"/>
              <pc:sldLayoutMk cId="3249480313" sldId="2147483845"/>
              <ac:spMk id="5" creationId="{8A859F72-32B2-47EB-8CB5-BCF639CDADF5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260" v="1135" actId="20577"/>
          <pc:sldLayoutMkLst>
            <pc:docMk/>
            <pc:sldMasterMk cId="4061182373" sldId="2147483765"/>
            <pc:sldLayoutMk cId="4078751501" sldId="2147483846"/>
          </pc:sldLayoutMkLst>
          <pc:spChg chg="mod">
            <ac:chgData name="Oscar Llorente Gonzalez" userId="e1d48c7f-7de1-49f5-ba88-07a54202ac7d" providerId="ADAL" clId="{1EEC5D65-53DB-49BB-8210-9857D65F24AB}" dt="2024-02-07T09:30:05.260" v="1135" actId="20577"/>
            <ac:spMkLst>
              <pc:docMk/>
              <pc:sldMasterMk cId="4061182373" sldId="2147483765"/>
              <pc:sldLayoutMk cId="4078751501" sldId="2147483846"/>
              <ac:spMk id="5" creationId="{8A859F72-32B2-47EB-8CB5-BCF639CDADF5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274" v="1139" actId="20577"/>
          <pc:sldLayoutMkLst>
            <pc:docMk/>
            <pc:sldMasterMk cId="4061182373" sldId="2147483765"/>
            <pc:sldLayoutMk cId="3981605940" sldId="2147483847"/>
          </pc:sldLayoutMkLst>
          <pc:spChg chg="mod">
            <ac:chgData name="Oscar Llorente Gonzalez" userId="e1d48c7f-7de1-49f5-ba88-07a54202ac7d" providerId="ADAL" clId="{1EEC5D65-53DB-49BB-8210-9857D65F24AB}" dt="2024-02-07T09:30:05.274" v="1139" actId="20577"/>
            <ac:spMkLst>
              <pc:docMk/>
              <pc:sldMasterMk cId="4061182373" sldId="2147483765"/>
              <pc:sldLayoutMk cId="3981605940" sldId="2147483847"/>
              <ac:spMk id="7" creationId="{8D51E95B-B5A6-40B6-97CB-5F0FE563EB1D}"/>
            </ac:spMkLst>
          </pc:spChg>
        </pc:sldLayoutChg>
        <pc:sldLayoutChg chg="modSp mod">
          <pc:chgData name="Oscar Llorente Gonzalez" userId="e1d48c7f-7de1-49f5-ba88-07a54202ac7d" providerId="ADAL" clId="{1EEC5D65-53DB-49BB-8210-9857D65F24AB}" dt="2024-02-07T09:30:05.324" v="1143" actId="20577"/>
          <pc:sldLayoutMkLst>
            <pc:docMk/>
            <pc:sldMasterMk cId="4061182373" sldId="2147483765"/>
            <pc:sldLayoutMk cId="3709990802" sldId="2147483870"/>
          </pc:sldLayoutMkLst>
          <pc:spChg chg="mod">
            <ac:chgData name="Oscar Llorente Gonzalez" userId="e1d48c7f-7de1-49f5-ba88-07a54202ac7d" providerId="ADAL" clId="{1EEC5D65-53DB-49BB-8210-9857D65F24AB}" dt="2024-02-07T09:30:05.324" v="1143" actId="20577"/>
            <ac:spMkLst>
              <pc:docMk/>
              <pc:sldMasterMk cId="4061182373" sldId="2147483765"/>
              <pc:sldLayoutMk cId="3709990802" sldId="2147483870"/>
              <ac:spMk id="3" creationId="{C44ECCE6-4D94-443E-8C20-CA233A5C0572}"/>
            </ac:spMkLst>
          </pc:spChg>
        </pc:sldLayoutChg>
      </pc:sldMasterChg>
    </pc:docChg>
  </pc:docChgLst>
  <pc:docChgLst>
    <pc:chgData name="Oscar Llorente Gonzalez" userId="e1d48c7f-7de1-49f5-ba88-07a54202ac7d" providerId="ADAL" clId="{2EB597FE-FE2E-47C9-86A5-2D441B3829E4}"/>
    <pc:docChg chg="undo custSel delSld modSld sldOrd modMainMaster modSection">
      <pc:chgData name="Oscar Llorente Gonzalez" userId="e1d48c7f-7de1-49f5-ba88-07a54202ac7d" providerId="ADAL" clId="{2EB597FE-FE2E-47C9-86A5-2D441B3829E4}" dt="2024-02-08T11:15:35.862" v="856" actId="14100"/>
      <pc:docMkLst>
        <pc:docMk/>
      </pc:docMkLst>
      <pc:sldChg chg="del">
        <pc:chgData name="Oscar Llorente Gonzalez" userId="e1d48c7f-7de1-49f5-ba88-07a54202ac7d" providerId="ADAL" clId="{2EB597FE-FE2E-47C9-86A5-2D441B3829E4}" dt="2024-02-08T10:53:38.279" v="142" actId="47"/>
        <pc:sldMkLst>
          <pc:docMk/>
          <pc:sldMk cId="3709959988" sldId="270"/>
        </pc:sldMkLst>
      </pc:sldChg>
      <pc:sldChg chg="del">
        <pc:chgData name="Oscar Llorente Gonzalez" userId="e1d48c7f-7de1-49f5-ba88-07a54202ac7d" providerId="ADAL" clId="{2EB597FE-FE2E-47C9-86A5-2D441B3829E4}" dt="2024-02-08T10:53:37.623" v="141" actId="47"/>
        <pc:sldMkLst>
          <pc:docMk/>
          <pc:sldMk cId="2395417709" sldId="2147479165"/>
        </pc:sldMkLst>
      </pc:sldChg>
      <pc:sldChg chg="del">
        <pc:chgData name="Oscar Llorente Gonzalez" userId="e1d48c7f-7de1-49f5-ba88-07a54202ac7d" providerId="ADAL" clId="{2EB597FE-FE2E-47C9-86A5-2D441B3829E4}" dt="2024-02-08T10:53:35.216" v="137" actId="47"/>
        <pc:sldMkLst>
          <pc:docMk/>
          <pc:sldMk cId="3824782914" sldId="2147479178"/>
        </pc:sldMkLst>
      </pc:sldChg>
      <pc:sldChg chg="del">
        <pc:chgData name="Oscar Llorente Gonzalez" userId="e1d48c7f-7de1-49f5-ba88-07a54202ac7d" providerId="ADAL" clId="{2EB597FE-FE2E-47C9-86A5-2D441B3829E4}" dt="2024-02-08T10:53:36.386" v="139" actId="47"/>
        <pc:sldMkLst>
          <pc:docMk/>
          <pc:sldMk cId="1730299970" sldId="2147479179"/>
        </pc:sldMkLst>
      </pc:sldChg>
      <pc:sldChg chg="del">
        <pc:chgData name="Oscar Llorente Gonzalez" userId="e1d48c7f-7de1-49f5-ba88-07a54202ac7d" providerId="ADAL" clId="{2EB597FE-FE2E-47C9-86A5-2D441B3829E4}" dt="2024-02-08T10:53:34.656" v="136" actId="47"/>
        <pc:sldMkLst>
          <pc:docMk/>
          <pc:sldMk cId="401904506" sldId="2147479182"/>
        </pc:sldMkLst>
      </pc:sldChg>
      <pc:sldChg chg="del">
        <pc:chgData name="Oscar Llorente Gonzalez" userId="e1d48c7f-7de1-49f5-ba88-07a54202ac7d" providerId="ADAL" clId="{2EB597FE-FE2E-47C9-86A5-2D441B3829E4}" dt="2024-02-08T10:53:35.795" v="138" actId="47"/>
        <pc:sldMkLst>
          <pc:docMk/>
          <pc:sldMk cId="1293046710" sldId="2147479183"/>
        </pc:sldMkLst>
      </pc:sldChg>
      <pc:sldChg chg="del">
        <pc:chgData name="Oscar Llorente Gonzalez" userId="e1d48c7f-7de1-49f5-ba88-07a54202ac7d" providerId="ADAL" clId="{2EB597FE-FE2E-47C9-86A5-2D441B3829E4}" dt="2024-02-08T10:53:31.202" v="134" actId="47"/>
        <pc:sldMkLst>
          <pc:docMk/>
          <pc:sldMk cId="71226376" sldId="2147479187"/>
        </pc:sldMkLst>
      </pc:sldChg>
      <pc:sldChg chg="del">
        <pc:chgData name="Oscar Llorente Gonzalez" userId="e1d48c7f-7de1-49f5-ba88-07a54202ac7d" providerId="ADAL" clId="{2EB597FE-FE2E-47C9-86A5-2D441B3829E4}" dt="2024-02-08T10:53:30.479" v="133" actId="47"/>
        <pc:sldMkLst>
          <pc:docMk/>
          <pc:sldMk cId="2621176561" sldId="2147479188"/>
        </pc:sldMkLst>
      </pc:sldChg>
      <pc:sldChg chg="del">
        <pc:chgData name="Oscar Llorente Gonzalez" userId="e1d48c7f-7de1-49f5-ba88-07a54202ac7d" providerId="ADAL" clId="{2EB597FE-FE2E-47C9-86A5-2D441B3829E4}" dt="2024-02-08T10:53:40.056" v="145" actId="47"/>
        <pc:sldMkLst>
          <pc:docMk/>
          <pc:sldMk cId="1227111822" sldId="2147479192"/>
        </pc:sldMkLst>
      </pc:sldChg>
      <pc:sldChg chg="modSp mod">
        <pc:chgData name="Oscar Llorente Gonzalez" userId="e1d48c7f-7de1-49f5-ba88-07a54202ac7d" providerId="ADAL" clId="{2EB597FE-FE2E-47C9-86A5-2D441B3829E4}" dt="2024-02-08T10:59:36.025" v="443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2EB597FE-FE2E-47C9-86A5-2D441B3829E4}" dt="2024-02-08T10:59:36.025" v="443"/>
          <ac:spMkLst>
            <pc:docMk/>
            <pc:sldMk cId="46647062" sldId="2147479193"/>
            <ac:spMk id="20" creationId="{BDDCF03B-24AE-05EB-527C-A8170D91E665}"/>
          </ac:spMkLst>
        </pc:spChg>
        <pc:spChg chg="mod">
          <ac:chgData name="Oscar Llorente Gonzalez" userId="e1d48c7f-7de1-49f5-ba88-07a54202ac7d" providerId="ADAL" clId="{2EB597FE-FE2E-47C9-86A5-2D441B3829E4}" dt="2024-02-08T10:55:35.588" v="221" actId="20577"/>
          <ac:spMkLst>
            <pc:docMk/>
            <pc:sldMk cId="46647062" sldId="2147479193"/>
            <ac:spMk id="22" creationId="{18B85F4C-6797-89F5-6EA7-2997BBF4E4B1}"/>
          </ac:spMkLst>
        </pc:spChg>
      </pc:sldChg>
      <pc:sldChg chg="del">
        <pc:chgData name="Oscar Llorente Gonzalez" userId="e1d48c7f-7de1-49f5-ba88-07a54202ac7d" providerId="ADAL" clId="{2EB597FE-FE2E-47C9-86A5-2D441B3829E4}" dt="2024-02-08T10:53:27.549" v="130" actId="47"/>
        <pc:sldMkLst>
          <pc:docMk/>
          <pc:sldMk cId="624504898" sldId="2147479454"/>
        </pc:sldMkLst>
      </pc:sldChg>
      <pc:sldChg chg="del">
        <pc:chgData name="Oscar Llorente Gonzalez" userId="e1d48c7f-7de1-49f5-ba88-07a54202ac7d" providerId="ADAL" clId="{2EB597FE-FE2E-47C9-86A5-2D441B3829E4}" dt="2024-02-08T10:53:31.696" v="135" actId="47"/>
        <pc:sldMkLst>
          <pc:docMk/>
          <pc:sldMk cId="1627335658" sldId="2147479490"/>
        </pc:sldMkLst>
      </pc:sldChg>
      <pc:sldChg chg="del">
        <pc:chgData name="Oscar Llorente Gonzalez" userId="e1d48c7f-7de1-49f5-ba88-07a54202ac7d" providerId="ADAL" clId="{2EB597FE-FE2E-47C9-86A5-2D441B3829E4}" dt="2024-02-08T10:53:36.960" v="140" actId="47"/>
        <pc:sldMkLst>
          <pc:docMk/>
          <pc:sldMk cId="4244552098" sldId="2147479491"/>
        </pc:sldMkLst>
      </pc:sldChg>
      <pc:sldChg chg="del">
        <pc:chgData name="Oscar Llorente Gonzalez" userId="e1d48c7f-7de1-49f5-ba88-07a54202ac7d" providerId="ADAL" clId="{2EB597FE-FE2E-47C9-86A5-2D441B3829E4}" dt="2024-02-08T10:53:38.806" v="143" actId="47"/>
        <pc:sldMkLst>
          <pc:docMk/>
          <pc:sldMk cId="3477777712" sldId="2147479492"/>
        </pc:sldMkLst>
      </pc:sldChg>
      <pc:sldChg chg="del">
        <pc:chgData name="Oscar Llorente Gonzalez" userId="e1d48c7f-7de1-49f5-ba88-07a54202ac7d" providerId="ADAL" clId="{2EB597FE-FE2E-47C9-86A5-2D441B3829E4}" dt="2024-02-08T10:53:39.456" v="144" actId="47"/>
        <pc:sldMkLst>
          <pc:docMk/>
          <pc:sldMk cId="1594342864" sldId="2147479493"/>
        </pc:sldMkLst>
      </pc:sldChg>
      <pc:sldChg chg="del ord">
        <pc:chgData name="Oscar Llorente Gonzalez" userId="e1d48c7f-7de1-49f5-ba88-07a54202ac7d" providerId="ADAL" clId="{2EB597FE-FE2E-47C9-86A5-2D441B3829E4}" dt="2024-02-08T11:03:47.106" v="518" actId="47"/>
        <pc:sldMkLst>
          <pc:docMk/>
          <pc:sldMk cId="1046278069" sldId="2147479494"/>
        </pc:sldMkLst>
      </pc:sldChg>
      <pc:sldChg chg="del">
        <pc:chgData name="Oscar Llorente Gonzalez" userId="e1d48c7f-7de1-49f5-ba88-07a54202ac7d" providerId="ADAL" clId="{2EB597FE-FE2E-47C9-86A5-2D441B3829E4}" dt="2024-02-08T10:54:57.615" v="211" actId="47"/>
        <pc:sldMkLst>
          <pc:docMk/>
          <pc:sldMk cId="2921247362" sldId="2147479495"/>
        </pc:sldMkLst>
      </pc:sldChg>
      <pc:sldChg chg="del">
        <pc:chgData name="Oscar Llorente Gonzalez" userId="e1d48c7f-7de1-49f5-ba88-07a54202ac7d" providerId="ADAL" clId="{2EB597FE-FE2E-47C9-86A5-2D441B3829E4}" dt="2024-02-08T10:53:48.311" v="148" actId="47"/>
        <pc:sldMkLst>
          <pc:docMk/>
          <pc:sldMk cId="2447576259" sldId="2147479497"/>
        </pc:sldMkLst>
      </pc:sldChg>
      <pc:sldChg chg="ord">
        <pc:chgData name="Oscar Llorente Gonzalez" userId="e1d48c7f-7de1-49f5-ba88-07a54202ac7d" providerId="ADAL" clId="{2EB597FE-FE2E-47C9-86A5-2D441B3829E4}" dt="2024-02-08T10:53:53.760" v="152"/>
        <pc:sldMkLst>
          <pc:docMk/>
          <pc:sldMk cId="2453484934" sldId="2147479498"/>
        </pc:sldMkLst>
      </pc:sldChg>
      <pc:sldChg chg="del">
        <pc:chgData name="Oscar Llorente Gonzalez" userId="e1d48c7f-7de1-49f5-ba88-07a54202ac7d" providerId="ADAL" clId="{2EB597FE-FE2E-47C9-86A5-2D441B3829E4}" dt="2024-02-08T10:53:25.910" v="128" actId="47"/>
        <pc:sldMkLst>
          <pc:docMk/>
          <pc:sldMk cId="1202315257" sldId="2147479501"/>
        </pc:sldMkLst>
      </pc:sldChg>
      <pc:sldChg chg="del">
        <pc:chgData name="Oscar Llorente Gonzalez" userId="e1d48c7f-7de1-49f5-ba88-07a54202ac7d" providerId="ADAL" clId="{2EB597FE-FE2E-47C9-86A5-2D441B3829E4}" dt="2024-02-08T10:57:55.115" v="310" actId="2696"/>
        <pc:sldMkLst>
          <pc:docMk/>
          <pc:sldMk cId="2286114330" sldId="2147479503"/>
        </pc:sldMkLst>
      </pc:sldChg>
      <pc:sldChg chg="del">
        <pc:chgData name="Oscar Llorente Gonzalez" userId="e1d48c7f-7de1-49f5-ba88-07a54202ac7d" providerId="ADAL" clId="{2EB597FE-FE2E-47C9-86A5-2D441B3829E4}" dt="2024-02-08T10:53:29.791" v="132" actId="47"/>
        <pc:sldMkLst>
          <pc:docMk/>
          <pc:sldMk cId="4106844089" sldId="2147479504"/>
        </pc:sldMkLst>
      </pc:sldChg>
      <pc:sldChg chg="modSp mod">
        <pc:chgData name="Oscar Llorente Gonzalez" userId="e1d48c7f-7de1-49f5-ba88-07a54202ac7d" providerId="ADAL" clId="{2EB597FE-FE2E-47C9-86A5-2D441B3829E4}" dt="2024-02-08T10:54:41.375" v="208" actId="20577"/>
        <pc:sldMkLst>
          <pc:docMk/>
          <pc:sldMk cId="1508270735" sldId="2147479505"/>
        </pc:sldMkLst>
        <pc:spChg chg="mod">
          <ac:chgData name="Oscar Llorente Gonzalez" userId="e1d48c7f-7de1-49f5-ba88-07a54202ac7d" providerId="ADAL" clId="{2EB597FE-FE2E-47C9-86A5-2D441B3829E4}" dt="2024-02-08T10:54:41.375" v="208" actId="20577"/>
          <ac:spMkLst>
            <pc:docMk/>
            <pc:sldMk cId="1508270735" sldId="2147479505"/>
            <ac:spMk id="2" creationId="{23EA3453-944D-FAE4-DD0A-94139BBEA1D9}"/>
          </ac:spMkLst>
        </pc:spChg>
      </pc:sldChg>
      <pc:sldChg chg="ord">
        <pc:chgData name="Oscar Llorente Gonzalez" userId="e1d48c7f-7de1-49f5-ba88-07a54202ac7d" providerId="ADAL" clId="{2EB597FE-FE2E-47C9-86A5-2D441B3829E4}" dt="2024-02-08T10:53:52.313" v="150"/>
        <pc:sldMkLst>
          <pc:docMk/>
          <pc:sldMk cId="1410135881" sldId="2147479506"/>
        </pc:sldMkLst>
      </pc:sldChg>
      <pc:sldChg chg="ord">
        <pc:chgData name="Oscar Llorente Gonzalez" userId="e1d48c7f-7de1-49f5-ba88-07a54202ac7d" providerId="ADAL" clId="{2EB597FE-FE2E-47C9-86A5-2D441B3829E4}" dt="2024-02-08T10:53:59.068" v="154"/>
        <pc:sldMkLst>
          <pc:docMk/>
          <pc:sldMk cId="1288778451" sldId="2147479507"/>
        </pc:sldMkLst>
      </pc:sldChg>
      <pc:sldChg chg="ord">
        <pc:chgData name="Oscar Llorente Gonzalez" userId="e1d48c7f-7de1-49f5-ba88-07a54202ac7d" providerId="ADAL" clId="{2EB597FE-FE2E-47C9-86A5-2D441B3829E4}" dt="2024-02-08T10:54:01.489" v="158"/>
        <pc:sldMkLst>
          <pc:docMk/>
          <pc:sldMk cId="2329968910" sldId="2147479508"/>
        </pc:sldMkLst>
      </pc:sldChg>
      <pc:sldChg chg="ord">
        <pc:chgData name="Oscar Llorente Gonzalez" userId="e1d48c7f-7de1-49f5-ba88-07a54202ac7d" providerId="ADAL" clId="{2EB597FE-FE2E-47C9-86A5-2D441B3829E4}" dt="2024-02-08T10:54:00.353" v="156"/>
        <pc:sldMkLst>
          <pc:docMk/>
          <pc:sldMk cId="2427112225" sldId="2147479509"/>
        </pc:sldMkLst>
      </pc:sldChg>
      <pc:sldChg chg="del">
        <pc:chgData name="Oscar Llorente Gonzalez" userId="e1d48c7f-7de1-49f5-ba88-07a54202ac7d" providerId="ADAL" clId="{2EB597FE-FE2E-47C9-86A5-2D441B3829E4}" dt="2024-02-08T10:53:28.146" v="131" actId="47"/>
        <pc:sldMkLst>
          <pc:docMk/>
          <pc:sldMk cId="654174997" sldId="2147479768"/>
        </pc:sldMkLst>
      </pc:sldChg>
      <pc:sldChg chg="del">
        <pc:chgData name="Oscar Llorente Gonzalez" userId="e1d48c7f-7de1-49f5-ba88-07a54202ac7d" providerId="ADAL" clId="{2EB597FE-FE2E-47C9-86A5-2D441B3829E4}" dt="2024-02-08T10:53:26.624" v="129" actId="47"/>
        <pc:sldMkLst>
          <pc:docMk/>
          <pc:sldMk cId="2851781940" sldId="2147479795"/>
        </pc:sldMkLst>
      </pc:sldChg>
      <pc:sldChg chg="ord">
        <pc:chgData name="Oscar Llorente Gonzalez" userId="e1d48c7f-7de1-49f5-ba88-07a54202ac7d" providerId="ADAL" clId="{2EB597FE-FE2E-47C9-86A5-2D441B3829E4}" dt="2024-02-08T10:54:11.608" v="160"/>
        <pc:sldMkLst>
          <pc:docMk/>
          <pc:sldMk cId="2088336728" sldId="2147479796"/>
        </pc:sldMkLst>
      </pc:sldChg>
      <pc:sldMasterChg chg="addSp delSp modSp mod delSldLayout modSldLayout">
        <pc:chgData name="Oscar Llorente Gonzalez" userId="e1d48c7f-7de1-49f5-ba88-07a54202ac7d" providerId="ADAL" clId="{2EB597FE-FE2E-47C9-86A5-2D441B3829E4}" dt="2024-02-08T11:15:35.862" v="856" actId="14100"/>
        <pc:sldMasterMkLst>
          <pc:docMk/>
          <pc:sldMasterMk cId="2523064765" sldId="2147483660"/>
        </pc:sldMasterMkLst>
        <pc:spChg chg="add mod">
          <ac:chgData name="Oscar Llorente Gonzalez" userId="e1d48c7f-7de1-49f5-ba88-07a54202ac7d" providerId="ADAL" clId="{2EB597FE-FE2E-47C9-86A5-2D441B3829E4}" dt="2024-02-08T11:15:35.862" v="856" actId="14100"/>
          <ac:spMkLst>
            <pc:docMk/>
            <pc:sldMasterMk cId="2523064765" sldId="2147483660"/>
            <ac:spMk id="3" creationId="{0665815C-E6AB-667E-FD0B-272049406215}"/>
          </ac:spMkLst>
        </pc:spChg>
        <pc:spChg chg="add del mod">
          <ac:chgData name="Oscar Llorente Gonzalez" userId="e1d48c7f-7de1-49f5-ba88-07a54202ac7d" providerId="ADAL" clId="{2EB597FE-FE2E-47C9-86A5-2D441B3829E4}" dt="2024-02-08T11:00:08.417" v="444" actId="478"/>
          <ac:spMkLst>
            <pc:docMk/>
            <pc:sldMasterMk cId="2523064765" sldId="2147483660"/>
            <ac:spMk id="3" creationId="{09012E2B-7DCF-CCE4-99AD-75F3525E5BFE}"/>
          </ac:spMkLst>
        </pc:spChg>
        <pc:spChg chg="add del mod">
          <ac:chgData name="Oscar Llorente Gonzalez" userId="e1d48c7f-7de1-49f5-ba88-07a54202ac7d" providerId="ADAL" clId="{2EB597FE-FE2E-47C9-86A5-2D441B3829E4}" dt="2024-02-08T11:04:16.494" v="520"/>
          <ac:spMkLst>
            <pc:docMk/>
            <pc:sldMasterMk cId="2523064765" sldId="2147483660"/>
            <ac:spMk id="3" creationId="{1F44DDDC-B856-6C28-32E8-9732B1EFAB48}"/>
          </ac:spMkLst>
        </pc:spChg>
        <pc:spChg chg="add del mod">
          <ac:chgData name="Oscar Llorente Gonzalez" userId="e1d48c7f-7de1-49f5-ba88-07a54202ac7d" providerId="ADAL" clId="{2EB597FE-FE2E-47C9-86A5-2D441B3829E4}" dt="2024-02-08T11:08:50.105" v="714" actId="478"/>
          <ac:spMkLst>
            <pc:docMk/>
            <pc:sldMasterMk cId="2523064765" sldId="2147483660"/>
            <ac:spMk id="4" creationId="{D5443715-10AD-28C7-DEA3-A858534F7150}"/>
          </ac:spMkLst>
        </pc:spChg>
        <pc:sldLayoutChg chg="delSp modSp mod">
          <pc:chgData name="Oscar Llorente Gonzalez" userId="e1d48c7f-7de1-49f5-ba88-07a54202ac7d" providerId="ADAL" clId="{2EB597FE-FE2E-47C9-86A5-2D441B3829E4}" dt="2024-02-08T11:00:49.917" v="448" actId="478"/>
          <pc:sldLayoutMkLst>
            <pc:docMk/>
            <pc:sldMasterMk cId="2523064765" sldId="2147483660"/>
            <pc:sldLayoutMk cId="675883818" sldId="2147483675"/>
          </pc:sldLayoutMkLst>
          <pc:spChg chg="del mod">
            <ac:chgData name="Oscar Llorente Gonzalez" userId="e1d48c7f-7de1-49f5-ba88-07a54202ac7d" providerId="ADAL" clId="{2EB597FE-FE2E-47C9-86A5-2D441B3829E4}" dt="2024-02-08T11:00:49.917" v="448" actId="478"/>
            <ac:spMkLst>
              <pc:docMk/>
              <pc:sldMasterMk cId="2523064765" sldId="2147483660"/>
              <pc:sldLayoutMk cId="675883818" sldId="2147483675"/>
              <ac:spMk id="8" creationId="{53797230-5A6C-4718-8C90-CB9F2709B382}"/>
            </ac:spMkLst>
          </pc:spChg>
        </pc:sldLayoutChg>
        <pc:sldLayoutChg chg="modSp mod">
          <pc:chgData name="Oscar Llorente Gonzalez" userId="e1d48c7f-7de1-49f5-ba88-07a54202ac7d" providerId="ADAL" clId="{2EB597FE-FE2E-47C9-86A5-2D441B3829E4}" dt="2024-02-08T11:09:53.494" v="718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2EB597FE-FE2E-47C9-86A5-2D441B3829E4}" dt="2024-02-08T11:09:53.494" v="718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2EB597FE-FE2E-47C9-86A5-2D441B3829E4}" dt="2024-02-08T11:09:53.513" v="726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2EB597FE-FE2E-47C9-86A5-2D441B3829E4}" dt="2024-02-08T11:09:53.513" v="726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2EB597FE-FE2E-47C9-86A5-2D441B3829E4}" dt="2024-02-08T11:09:53.497" v="722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2EB597FE-FE2E-47C9-86A5-2D441B3829E4}" dt="2024-02-08T11:09:53.497" v="722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0:52.123" v="449" actId="478"/>
          <pc:sldLayoutMkLst>
            <pc:docMk/>
            <pc:sldMasterMk cId="2523064765" sldId="2147483660"/>
            <pc:sldLayoutMk cId="3545725332" sldId="2147483696"/>
          </pc:sldLayoutMkLst>
          <pc:spChg chg="del mod">
            <ac:chgData name="Oscar Llorente Gonzalez" userId="e1d48c7f-7de1-49f5-ba88-07a54202ac7d" providerId="ADAL" clId="{2EB597FE-FE2E-47C9-86A5-2D441B3829E4}" dt="2024-02-08T11:00:52.123" v="449" actId="478"/>
            <ac:spMkLst>
              <pc:docMk/>
              <pc:sldMasterMk cId="2523064765" sldId="2147483660"/>
              <pc:sldLayoutMk cId="3545725332" sldId="2147483696"/>
              <ac:spMk id="9" creationId="{2C8570FA-FAA3-4EFA-A4F1-01C285AE39DE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0:41.859" v="446" actId="478"/>
          <pc:sldLayoutMkLst>
            <pc:docMk/>
            <pc:sldMasterMk cId="2523064765" sldId="2147483660"/>
            <pc:sldLayoutMk cId="395415313" sldId="2147483707"/>
          </pc:sldLayoutMkLst>
          <pc:spChg chg="del mod">
            <ac:chgData name="Oscar Llorente Gonzalez" userId="e1d48c7f-7de1-49f5-ba88-07a54202ac7d" providerId="ADAL" clId="{2EB597FE-FE2E-47C9-86A5-2D441B3829E4}" dt="2024-02-08T11:00:41.859" v="446" actId="478"/>
            <ac:spMkLst>
              <pc:docMk/>
              <pc:sldMasterMk cId="2523064765" sldId="2147483660"/>
              <pc:sldLayoutMk cId="395415313" sldId="2147483707"/>
              <ac:spMk id="3" creationId="{0CDCA974-97F4-E46C-64E9-AFF9636E50D8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0:45.445" v="447" actId="478"/>
          <pc:sldLayoutMkLst>
            <pc:docMk/>
            <pc:sldMasterMk cId="2523064765" sldId="2147483660"/>
            <pc:sldLayoutMk cId="3084474769" sldId="2147483709"/>
          </pc:sldLayoutMkLst>
          <pc:spChg chg="del mod">
            <ac:chgData name="Oscar Llorente Gonzalez" userId="e1d48c7f-7de1-49f5-ba88-07a54202ac7d" providerId="ADAL" clId="{2EB597FE-FE2E-47C9-86A5-2D441B3829E4}" dt="2024-02-08T11:00:45.445" v="447" actId="478"/>
            <ac:spMkLst>
              <pc:docMk/>
              <pc:sldMasterMk cId="2523064765" sldId="2147483660"/>
              <pc:sldLayoutMk cId="3084474769" sldId="2147483709"/>
              <ac:spMk id="5" creationId="{203FD5EF-20DB-46AB-B412-DF9112353719}"/>
            </ac:spMkLst>
          </pc:spChg>
        </pc:sldLayoutChg>
        <pc:sldLayoutChg chg="del">
          <pc:chgData name="Oscar Llorente Gonzalez" userId="e1d48c7f-7de1-49f5-ba88-07a54202ac7d" providerId="ADAL" clId="{2EB597FE-FE2E-47C9-86A5-2D441B3829E4}" dt="2024-02-08T10:53:28.146" v="131" actId="47"/>
          <pc:sldLayoutMkLst>
            <pc:docMk/>
            <pc:sldMasterMk cId="2523064765" sldId="2147483660"/>
            <pc:sldLayoutMk cId="2926417899" sldId="2147483873"/>
          </pc:sldLayoutMkLst>
        </pc:sldLayoutChg>
      </pc:sldMasterChg>
      <pc:sldMasterChg chg="delSp modSp mod delSldLayout modSldLayout">
        <pc:chgData name="Oscar Llorente Gonzalez" userId="e1d48c7f-7de1-49f5-ba88-07a54202ac7d" providerId="ADAL" clId="{2EB597FE-FE2E-47C9-86A5-2D441B3829E4}" dt="2024-02-08T11:09:53.542" v="730" actId="20577"/>
        <pc:sldMasterMkLst>
          <pc:docMk/>
          <pc:sldMasterMk cId="4061182373" sldId="2147483765"/>
        </pc:sldMasterMkLst>
        <pc:spChg chg="del mod">
          <ac:chgData name="Oscar Llorente Gonzalez" userId="e1d48c7f-7de1-49f5-ba88-07a54202ac7d" providerId="ADAL" clId="{2EB597FE-FE2E-47C9-86A5-2D441B3829E4}" dt="2024-02-08T11:00:20.273" v="445" actId="478"/>
          <ac:spMkLst>
            <pc:docMk/>
            <pc:sldMasterMk cId="4061182373" sldId="2147483765"/>
            <ac:spMk id="3" creationId="{E3471590-ED9A-9FA7-2BE4-D0B96AD628B1}"/>
          </ac:spMkLst>
        </pc:spChg>
        <pc:sldLayoutChg chg="addSp delSp modSp mod">
          <pc:chgData name="Oscar Llorente Gonzalez" userId="e1d48c7f-7de1-49f5-ba88-07a54202ac7d" providerId="ADAL" clId="{2EB597FE-FE2E-47C9-86A5-2D441B3829E4}" dt="2024-02-08T11:01:20.507" v="455" actId="478"/>
          <pc:sldLayoutMkLst>
            <pc:docMk/>
            <pc:sldMasterMk cId="4061182373" sldId="2147483765"/>
            <pc:sldLayoutMk cId="2458328145" sldId="2147483775"/>
          </pc:sldLayoutMkLst>
          <pc:spChg chg="del mod">
            <ac:chgData name="Oscar Llorente Gonzalez" userId="e1d48c7f-7de1-49f5-ba88-07a54202ac7d" providerId="ADAL" clId="{2EB597FE-FE2E-47C9-86A5-2D441B3829E4}" dt="2024-02-08T11:01:20.507" v="455" actId="478"/>
            <ac:spMkLst>
              <pc:docMk/>
              <pc:sldMasterMk cId="4061182373" sldId="2147483765"/>
              <pc:sldLayoutMk cId="2458328145" sldId="2147483775"/>
              <ac:spMk id="3" creationId="{B37BE219-A728-B744-8597-25C7895C902E}"/>
            </ac:spMkLst>
          </pc:spChg>
          <pc:picChg chg="add del">
            <ac:chgData name="Oscar Llorente Gonzalez" userId="e1d48c7f-7de1-49f5-ba88-07a54202ac7d" providerId="ADAL" clId="{2EB597FE-FE2E-47C9-86A5-2D441B3829E4}" dt="2024-02-08T11:01:18.046" v="454" actId="478"/>
            <ac:picMkLst>
              <pc:docMk/>
              <pc:sldMasterMk cId="4061182373" sldId="2147483765"/>
              <pc:sldLayoutMk cId="2458328145" sldId="2147483775"/>
              <ac:picMk id="5" creationId="{AD74E2A4-3CE7-5AEC-F931-B2C987C7E124}"/>
            </ac:picMkLst>
          </pc:picChg>
        </pc:sldLayoutChg>
        <pc:sldLayoutChg chg="delSp modSp mod">
          <pc:chgData name="Oscar Llorente Gonzalez" userId="e1d48c7f-7de1-49f5-ba88-07a54202ac7d" providerId="ADAL" clId="{2EB597FE-FE2E-47C9-86A5-2D441B3829E4}" dt="2024-02-08T11:01:03.160" v="451" actId="478"/>
          <pc:sldLayoutMkLst>
            <pc:docMk/>
            <pc:sldMasterMk cId="4061182373" sldId="2147483765"/>
            <pc:sldLayoutMk cId="2991321209" sldId="2147483776"/>
          </pc:sldLayoutMkLst>
          <pc:spChg chg="del mod">
            <ac:chgData name="Oscar Llorente Gonzalez" userId="e1d48c7f-7de1-49f5-ba88-07a54202ac7d" providerId="ADAL" clId="{2EB597FE-FE2E-47C9-86A5-2D441B3829E4}" dt="2024-02-08T11:01:03.160" v="451" actId="478"/>
            <ac:spMkLst>
              <pc:docMk/>
              <pc:sldMasterMk cId="4061182373" sldId="2147483765"/>
              <pc:sldLayoutMk cId="2991321209" sldId="2147483776"/>
              <ac:spMk id="5" creationId="{314302EF-3256-D2FA-5C50-5D29E26F422A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1:10.350" v="452" actId="478"/>
          <pc:sldLayoutMkLst>
            <pc:docMk/>
            <pc:sldMasterMk cId="4061182373" sldId="2147483765"/>
            <pc:sldLayoutMk cId="515948995" sldId="2147483777"/>
          </pc:sldLayoutMkLst>
          <pc:spChg chg="del mod">
            <ac:chgData name="Oscar Llorente Gonzalez" userId="e1d48c7f-7de1-49f5-ba88-07a54202ac7d" providerId="ADAL" clId="{2EB597FE-FE2E-47C9-86A5-2D441B3829E4}" dt="2024-02-08T11:01:10.350" v="452" actId="478"/>
            <ac:spMkLst>
              <pc:docMk/>
              <pc:sldMasterMk cId="4061182373" sldId="2147483765"/>
              <pc:sldLayoutMk cId="515948995" sldId="2147483777"/>
              <ac:spMk id="5" creationId="{1F114614-E5B1-476B-1E9E-776F57CE0894}"/>
            </ac:spMkLst>
          </pc:spChg>
        </pc:sldLayoutChg>
        <pc:sldLayoutChg chg="modSp mod">
          <pc:chgData name="Oscar Llorente Gonzalez" userId="e1d48c7f-7de1-49f5-ba88-07a54202ac7d" providerId="ADAL" clId="{2EB597FE-FE2E-47C9-86A5-2D441B3829E4}" dt="2024-02-08T11:09:53.542" v="730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2EB597FE-FE2E-47C9-86A5-2D441B3829E4}" dt="2024-02-08T11:09:53.542" v="730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1:26.785" v="456" actId="478"/>
          <pc:sldLayoutMkLst>
            <pc:docMk/>
            <pc:sldMasterMk cId="4061182373" sldId="2147483765"/>
            <pc:sldLayoutMk cId="1092349489" sldId="2147483782"/>
          </pc:sldLayoutMkLst>
          <pc:spChg chg="del mod">
            <ac:chgData name="Oscar Llorente Gonzalez" userId="e1d48c7f-7de1-49f5-ba88-07a54202ac7d" providerId="ADAL" clId="{2EB597FE-FE2E-47C9-86A5-2D441B3829E4}" dt="2024-02-08T11:01:26.785" v="456" actId="478"/>
            <ac:spMkLst>
              <pc:docMk/>
              <pc:sldMasterMk cId="4061182373" sldId="2147483765"/>
              <pc:sldLayoutMk cId="1092349489" sldId="2147483782"/>
              <ac:spMk id="3" creationId="{22DEDE2C-83D6-5EB2-DB57-1B38A95E15EC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1:41.259" v="457" actId="478"/>
          <pc:sldLayoutMkLst>
            <pc:docMk/>
            <pc:sldMasterMk cId="4061182373" sldId="2147483765"/>
            <pc:sldLayoutMk cId="3518373976" sldId="2147483801"/>
          </pc:sldLayoutMkLst>
          <pc:spChg chg="del mod">
            <ac:chgData name="Oscar Llorente Gonzalez" userId="e1d48c7f-7de1-49f5-ba88-07a54202ac7d" providerId="ADAL" clId="{2EB597FE-FE2E-47C9-86A5-2D441B3829E4}" dt="2024-02-08T11:01:41.259" v="457" actId="478"/>
            <ac:spMkLst>
              <pc:docMk/>
              <pc:sldMasterMk cId="4061182373" sldId="2147483765"/>
              <pc:sldLayoutMk cId="3518373976" sldId="2147483801"/>
              <ac:spMk id="5" creationId="{8A859F72-32B2-47EB-8CB5-BCF639CDADF5}"/>
            </ac:spMkLst>
          </pc:spChg>
        </pc:sldLayoutChg>
        <pc:sldLayoutChg chg="delSp modSp mod">
          <pc:chgData name="Oscar Llorente Gonzalez" userId="e1d48c7f-7de1-49f5-ba88-07a54202ac7d" providerId="ADAL" clId="{2EB597FE-FE2E-47C9-86A5-2D441B3829E4}" dt="2024-02-08T11:01:47.218" v="458" actId="478"/>
          <pc:sldLayoutMkLst>
            <pc:docMk/>
            <pc:sldMasterMk cId="4061182373" sldId="2147483765"/>
            <pc:sldLayoutMk cId="1623742912" sldId="2147483802"/>
          </pc:sldLayoutMkLst>
          <pc:spChg chg="del mod">
            <ac:chgData name="Oscar Llorente Gonzalez" userId="e1d48c7f-7de1-49f5-ba88-07a54202ac7d" providerId="ADAL" clId="{2EB597FE-FE2E-47C9-86A5-2D441B3829E4}" dt="2024-02-08T11:01:47.218" v="458" actId="478"/>
            <ac:spMkLst>
              <pc:docMk/>
              <pc:sldMasterMk cId="4061182373" sldId="2147483765"/>
              <pc:sldLayoutMk cId="1623742912" sldId="2147483802"/>
              <ac:spMk id="3" creationId="{C44ECCE6-4D94-443E-8C20-CA233A5C0572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1:57.988" v="459" actId="2696"/>
          <pc:sldLayoutMkLst>
            <pc:docMk/>
            <pc:sldMasterMk cId="4061182373" sldId="2147483765"/>
            <pc:sldLayoutMk cId="1461235300" sldId="2147483821"/>
          </pc:sldLayoutMkLst>
          <pc:spChg chg="mod">
            <ac:chgData name="Oscar Llorente Gonzalez" userId="e1d48c7f-7de1-49f5-ba88-07a54202ac7d" providerId="ADAL" clId="{2EB597FE-FE2E-47C9-86A5-2D441B3829E4}" dt="2024-02-08T10:58:26.381" v="382" actId="20577"/>
            <ac:spMkLst>
              <pc:docMk/>
              <pc:sldMasterMk cId="4061182373" sldId="2147483765"/>
              <pc:sldLayoutMk cId="1461235300" sldId="2147483821"/>
              <ac:spMk id="3" creationId="{C44ECCE6-4D94-443E-8C20-CA233A5C0572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00.234" v="460" actId="2696"/>
          <pc:sldLayoutMkLst>
            <pc:docMk/>
            <pc:sldMasterMk cId="4061182373" sldId="2147483765"/>
            <pc:sldLayoutMk cId="2881847180" sldId="2147483822"/>
          </pc:sldLayoutMkLst>
          <pc:spChg chg="mod">
            <ac:chgData name="Oscar Llorente Gonzalez" userId="e1d48c7f-7de1-49f5-ba88-07a54202ac7d" providerId="ADAL" clId="{2EB597FE-FE2E-47C9-86A5-2D441B3829E4}" dt="2024-02-08T10:58:26.384" v="386" actId="20577"/>
            <ac:spMkLst>
              <pc:docMk/>
              <pc:sldMasterMk cId="4061182373" sldId="2147483765"/>
              <pc:sldLayoutMk cId="2881847180" sldId="2147483822"/>
              <ac:spMk id="9" creationId="{72C1EE1F-EF94-4EBA-A010-8BC3D2F38C39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02.921" v="461" actId="2696"/>
          <pc:sldLayoutMkLst>
            <pc:docMk/>
            <pc:sldMasterMk cId="4061182373" sldId="2147483765"/>
            <pc:sldLayoutMk cId="19749786" sldId="2147483823"/>
          </pc:sldLayoutMkLst>
          <pc:spChg chg="mod">
            <ac:chgData name="Oscar Llorente Gonzalez" userId="e1d48c7f-7de1-49f5-ba88-07a54202ac7d" providerId="ADAL" clId="{2EB597FE-FE2E-47C9-86A5-2D441B3829E4}" dt="2024-02-08T10:58:26.396" v="390" actId="20577"/>
            <ac:spMkLst>
              <pc:docMk/>
              <pc:sldMasterMk cId="4061182373" sldId="2147483765"/>
              <pc:sldLayoutMk cId="19749786" sldId="2147483823"/>
              <ac:spMk id="5" creationId="{203FD5EF-20DB-46AB-B412-DF9112353719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11.557" v="462" actId="2696"/>
          <pc:sldLayoutMkLst>
            <pc:docMk/>
            <pc:sldMasterMk cId="4061182373" sldId="2147483765"/>
            <pc:sldLayoutMk cId="2795526763" sldId="2147483824"/>
          </pc:sldLayoutMkLst>
          <pc:spChg chg="mod">
            <ac:chgData name="Oscar Llorente Gonzalez" userId="e1d48c7f-7de1-49f5-ba88-07a54202ac7d" providerId="ADAL" clId="{2EB597FE-FE2E-47C9-86A5-2D441B3829E4}" dt="2024-02-08T10:58:26.396" v="394" actId="20577"/>
            <ac:spMkLst>
              <pc:docMk/>
              <pc:sldMasterMk cId="4061182373" sldId="2147483765"/>
              <pc:sldLayoutMk cId="2795526763" sldId="2147483824"/>
              <ac:spMk id="3" creationId="{C44ECCE6-4D94-443E-8C20-CA233A5C0572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13.535" v="463" actId="2696"/>
          <pc:sldLayoutMkLst>
            <pc:docMk/>
            <pc:sldMasterMk cId="4061182373" sldId="2147483765"/>
            <pc:sldLayoutMk cId="186073884" sldId="2147483825"/>
          </pc:sldLayoutMkLst>
          <pc:spChg chg="mod">
            <ac:chgData name="Oscar Llorente Gonzalez" userId="e1d48c7f-7de1-49f5-ba88-07a54202ac7d" providerId="ADAL" clId="{2EB597FE-FE2E-47C9-86A5-2D441B3829E4}" dt="2024-02-08T10:58:26.412" v="398" actId="20577"/>
            <ac:spMkLst>
              <pc:docMk/>
              <pc:sldMasterMk cId="4061182373" sldId="2147483765"/>
              <pc:sldLayoutMk cId="186073884" sldId="2147483825"/>
              <ac:spMk id="8" creationId="{C2AD0284-E6BA-49D8-AB3F-D94DBB1D54F0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14.946" v="464" actId="2696"/>
          <pc:sldLayoutMkLst>
            <pc:docMk/>
            <pc:sldMasterMk cId="4061182373" sldId="2147483765"/>
            <pc:sldLayoutMk cId="3364640623" sldId="2147483826"/>
          </pc:sldLayoutMkLst>
          <pc:spChg chg="mod">
            <ac:chgData name="Oscar Llorente Gonzalez" userId="e1d48c7f-7de1-49f5-ba88-07a54202ac7d" providerId="ADAL" clId="{2EB597FE-FE2E-47C9-86A5-2D441B3829E4}" dt="2024-02-08T10:58:26.430" v="402" actId="20577"/>
            <ac:spMkLst>
              <pc:docMk/>
              <pc:sldMasterMk cId="4061182373" sldId="2147483765"/>
              <pc:sldLayoutMk cId="3364640623" sldId="2147483826"/>
              <ac:spMk id="7" creationId="{DB8BC610-C1B0-4C6A-B5C2-80DA487CE5DE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26.048" v="472" actId="2696"/>
          <pc:sldLayoutMkLst>
            <pc:docMk/>
            <pc:sldMasterMk cId="4061182373" sldId="2147483765"/>
            <pc:sldLayoutMk cId="442173529" sldId="2147483827"/>
          </pc:sldLayoutMkLst>
          <pc:spChg chg="mod">
            <ac:chgData name="Oscar Llorente Gonzalez" userId="e1d48c7f-7de1-49f5-ba88-07a54202ac7d" providerId="ADAL" clId="{2EB597FE-FE2E-47C9-86A5-2D441B3829E4}" dt="2024-02-08T10:58:26.442" v="406" actId="20577"/>
            <ac:spMkLst>
              <pc:docMk/>
              <pc:sldMasterMk cId="4061182373" sldId="2147483765"/>
              <pc:sldLayoutMk cId="442173529" sldId="2147483827"/>
              <ac:spMk id="8" creationId="{53797230-5A6C-4718-8C90-CB9F2709B382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24.526" v="471" actId="2696"/>
          <pc:sldLayoutMkLst>
            <pc:docMk/>
            <pc:sldMasterMk cId="4061182373" sldId="2147483765"/>
            <pc:sldLayoutMk cId="3245256019" sldId="2147483828"/>
          </pc:sldLayoutMkLst>
          <pc:spChg chg="mod">
            <ac:chgData name="Oscar Llorente Gonzalez" userId="e1d48c7f-7de1-49f5-ba88-07a54202ac7d" providerId="ADAL" clId="{2EB597FE-FE2E-47C9-86A5-2D441B3829E4}" dt="2024-02-08T10:58:26.449" v="410" actId="20577"/>
            <ac:spMkLst>
              <pc:docMk/>
              <pc:sldMasterMk cId="4061182373" sldId="2147483765"/>
              <pc:sldLayoutMk cId="3245256019" sldId="2147483828"/>
              <ac:spMk id="9" creationId="{2C8570FA-FAA3-4EFA-A4F1-01C285AE39DE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21.486" v="468" actId="2696"/>
          <pc:sldLayoutMkLst>
            <pc:docMk/>
            <pc:sldMasterMk cId="4061182373" sldId="2147483765"/>
            <pc:sldLayoutMk cId="740314404" sldId="2147483829"/>
          </pc:sldLayoutMkLst>
          <pc:spChg chg="mod">
            <ac:chgData name="Oscar Llorente Gonzalez" userId="e1d48c7f-7de1-49f5-ba88-07a54202ac7d" providerId="ADAL" clId="{2EB597FE-FE2E-47C9-86A5-2D441B3829E4}" dt="2024-02-08T10:58:26.463" v="414" actId="20577"/>
            <ac:spMkLst>
              <pc:docMk/>
              <pc:sldMasterMk cId="4061182373" sldId="2147483765"/>
              <pc:sldLayoutMk cId="740314404" sldId="2147483829"/>
              <ac:spMk id="11" creationId="{A55C34B4-681E-4FDA-A9BB-6BC31D94C8D6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23.605" v="470" actId="2696"/>
          <pc:sldLayoutMkLst>
            <pc:docMk/>
            <pc:sldMasterMk cId="4061182373" sldId="2147483765"/>
            <pc:sldLayoutMk cId="3035770219" sldId="2147483830"/>
          </pc:sldLayoutMkLst>
          <pc:spChg chg="mod">
            <ac:chgData name="Oscar Llorente Gonzalez" userId="e1d48c7f-7de1-49f5-ba88-07a54202ac7d" providerId="ADAL" clId="{2EB597FE-FE2E-47C9-86A5-2D441B3829E4}" dt="2024-02-08T10:58:26.479" v="418" actId="20577"/>
            <ac:spMkLst>
              <pc:docMk/>
              <pc:sldMasterMk cId="4061182373" sldId="2147483765"/>
              <pc:sldLayoutMk cId="3035770219" sldId="2147483830"/>
              <ac:spMk id="10" creationId="{549048C1-340D-44C4-857B-1B201EC9A7E7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22.514" v="469" actId="2696"/>
          <pc:sldLayoutMkLst>
            <pc:docMk/>
            <pc:sldMasterMk cId="4061182373" sldId="2147483765"/>
            <pc:sldLayoutMk cId="2372352142" sldId="2147483831"/>
          </pc:sldLayoutMkLst>
          <pc:spChg chg="mod">
            <ac:chgData name="Oscar Llorente Gonzalez" userId="e1d48c7f-7de1-49f5-ba88-07a54202ac7d" providerId="ADAL" clId="{2EB597FE-FE2E-47C9-86A5-2D441B3829E4}" dt="2024-02-08T10:58:26.479" v="422" actId="20577"/>
            <ac:spMkLst>
              <pc:docMk/>
              <pc:sldMasterMk cId="4061182373" sldId="2147483765"/>
              <pc:sldLayoutMk cId="2372352142" sldId="2147483831"/>
              <ac:spMk id="14" creationId="{089CBEB5-348B-49F3-8F8B-FDEE08950E37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17.367" v="465" actId="2696"/>
          <pc:sldLayoutMkLst>
            <pc:docMk/>
            <pc:sldMasterMk cId="4061182373" sldId="2147483765"/>
            <pc:sldLayoutMk cId="980170257" sldId="2147483832"/>
          </pc:sldLayoutMkLst>
          <pc:spChg chg="mod">
            <ac:chgData name="Oscar Llorente Gonzalez" userId="e1d48c7f-7de1-49f5-ba88-07a54202ac7d" providerId="ADAL" clId="{2EB597FE-FE2E-47C9-86A5-2D441B3829E4}" dt="2024-02-08T10:58:26.500" v="426" actId="20577"/>
            <ac:spMkLst>
              <pc:docMk/>
              <pc:sldMasterMk cId="4061182373" sldId="2147483765"/>
              <pc:sldLayoutMk cId="980170257" sldId="2147483832"/>
              <ac:spMk id="5" creationId="{8A859F72-32B2-47EB-8CB5-BCF639CDADF5}"/>
            </ac:spMkLst>
          </pc:spChg>
        </pc:sldLayoutChg>
        <pc:sldLayoutChg chg="del">
          <pc:chgData name="Oscar Llorente Gonzalez" userId="e1d48c7f-7de1-49f5-ba88-07a54202ac7d" providerId="ADAL" clId="{2EB597FE-FE2E-47C9-86A5-2D441B3829E4}" dt="2024-02-08T11:02:17.976" v="466" actId="2696"/>
          <pc:sldLayoutMkLst>
            <pc:docMk/>
            <pc:sldMasterMk cId="4061182373" sldId="2147483765"/>
            <pc:sldLayoutMk cId="2557852971" sldId="2147483833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18.608" v="467" actId="2696"/>
          <pc:sldLayoutMkLst>
            <pc:docMk/>
            <pc:sldMasterMk cId="4061182373" sldId="2147483765"/>
            <pc:sldLayoutMk cId="1438140178" sldId="2147483834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41.638" v="501" actId="2696"/>
          <pc:sldLayoutMkLst>
            <pc:docMk/>
            <pc:sldMasterMk cId="4061182373" sldId="2147483765"/>
            <pc:sldLayoutMk cId="4103964436" sldId="2147483844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30.968" v="473" actId="2696"/>
          <pc:sldLayoutMkLst>
            <pc:docMk/>
            <pc:sldMasterMk cId="4061182373" sldId="2147483765"/>
            <pc:sldLayoutMk cId="3249480313" sldId="2147483845"/>
          </pc:sldLayoutMkLst>
          <pc:spChg chg="mod">
            <ac:chgData name="Oscar Llorente Gonzalez" userId="e1d48c7f-7de1-49f5-ba88-07a54202ac7d" providerId="ADAL" clId="{2EB597FE-FE2E-47C9-86A5-2D441B3829E4}" dt="2024-02-08T10:58:26.530" v="430" actId="20577"/>
            <ac:spMkLst>
              <pc:docMk/>
              <pc:sldMasterMk cId="4061182373" sldId="2147483765"/>
              <pc:sldLayoutMk cId="3249480313" sldId="2147483845"/>
              <ac:spMk id="5" creationId="{8A859F72-32B2-47EB-8CB5-BCF639CDADF5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31.933" v="474" actId="2696"/>
          <pc:sldLayoutMkLst>
            <pc:docMk/>
            <pc:sldMasterMk cId="4061182373" sldId="2147483765"/>
            <pc:sldLayoutMk cId="4078751501" sldId="2147483846"/>
          </pc:sldLayoutMkLst>
          <pc:spChg chg="mod">
            <ac:chgData name="Oscar Llorente Gonzalez" userId="e1d48c7f-7de1-49f5-ba88-07a54202ac7d" providerId="ADAL" clId="{2EB597FE-FE2E-47C9-86A5-2D441B3829E4}" dt="2024-02-08T10:58:26.545" v="434" actId="20577"/>
            <ac:spMkLst>
              <pc:docMk/>
              <pc:sldMasterMk cId="4061182373" sldId="2147483765"/>
              <pc:sldLayoutMk cId="4078751501" sldId="2147483846"/>
              <ac:spMk id="5" creationId="{8A859F72-32B2-47EB-8CB5-BCF639CDADF5}"/>
            </ac:spMkLst>
          </pc:spChg>
        </pc:sldLayoutChg>
        <pc:sldLayoutChg chg="modSp del mod">
          <pc:chgData name="Oscar Llorente Gonzalez" userId="e1d48c7f-7de1-49f5-ba88-07a54202ac7d" providerId="ADAL" clId="{2EB597FE-FE2E-47C9-86A5-2D441B3829E4}" dt="2024-02-08T11:02:32.749" v="475" actId="2696"/>
          <pc:sldLayoutMkLst>
            <pc:docMk/>
            <pc:sldMasterMk cId="4061182373" sldId="2147483765"/>
            <pc:sldLayoutMk cId="3981605940" sldId="2147483847"/>
          </pc:sldLayoutMkLst>
          <pc:spChg chg="mod">
            <ac:chgData name="Oscar Llorente Gonzalez" userId="e1d48c7f-7de1-49f5-ba88-07a54202ac7d" providerId="ADAL" clId="{2EB597FE-FE2E-47C9-86A5-2D441B3829E4}" dt="2024-02-08T10:58:26.546" v="438" actId="20577"/>
            <ac:spMkLst>
              <pc:docMk/>
              <pc:sldMasterMk cId="4061182373" sldId="2147483765"/>
              <pc:sldLayoutMk cId="3981605940" sldId="2147483847"/>
              <ac:spMk id="7" creationId="{8D51E95B-B5A6-40B6-97CB-5F0FE563EB1D}"/>
            </ac:spMkLst>
          </pc:spChg>
        </pc:sldLayoutChg>
        <pc:sldLayoutChg chg="del">
          <pc:chgData name="Oscar Llorente Gonzalez" userId="e1d48c7f-7de1-49f5-ba88-07a54202ac7d" providerId="ADAL" clId="{2EB597FE-FE2E-47C9-86A5-2D441B3829E4}" dt="2024-02-08T11:02:33.250" v="476" actId="2696"/>
          <pc:sldLayoutMkLst>
            <pc:docMk/>
            <pc:sldMasterMk cId="4061182373" sldId="2147483765"/>
            <pc:sldLayoutMk cId="1171644051" sldId="2147483848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3.594" v="477" actId="2696"/>
          <pc:sldLayoutMkLst>
            <pc:docMk/>
            <pc:sldMasterMk cId="4061182373" sldId="2147483765"/>
            <pc:sldLayoutMk cId="3155076956" sldId="2147483849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3.853" v="478" actId="2696"/>
          <pc:sldLayoutMkLst>
            <pc:docMk/>
            <pc:sldMasterMk cId="4061182373" sldId="2147483765"/>
            <pc:sldLayoutMk cId="516334993" sldId="2147483850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071" v="479" actId="2696"/>
          <pc:sldLayoutMkLst>
            <pc:docMk/>
            <pc:sldMasterMk cId="4061182373" sldId="2147483765"/>
            <pc:sldLayoutMk cId="3363984336" sldId="2147483851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287" v="480" actId="2696"/>
          <pc:sldLayoutMkLst>
            <pc:docMk/>
            <pc:sldMasterMk cId="4061182373" sldId="2147483765"/>
            <pc:sldLayoutMk cId="853091462" sldId="2147483852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502" v="481" actId="2696"/>
          <pc:sldLayoutMkLst>
            <pc:docMk/>
            <pc:sldMasterMk cId="4061182373" sldId="2147483765"/>
            <pc:sldLayoutMk cId="3856994411" sldId="2147483853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694" v="482" actId="2696"/>
          <pc:sldLayoutMkLst>
            <pc:docMk/>
            <pc:sldMasterMk cId="4061182373" sldId="2147483765"/>
            <pc:sldLayoutMk cId="3641836738" sldId="2147483854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891" v="483" actId="2696"/>
          <pc:sldLayoutMkLst>
            <pc:docMk/>
            <pc:sldMasterMk cId="4061182373" sldId="2147483765"/>
            <pc:sldLayoutMk cId="1690406819" sldId="2147483855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103" v="484" actId="2696"/>
          <pc:sldLayoutMkLst>
            <pc:docMk/>
            <pc:sldMasterMk cId="4061182373" sldId="2147483765"/>
            <pc:sldLayoutMk cId="3322942048" sldId="2147483856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298" v="485" actId="2696"/>
          <pc:sldLayoutMkLst>
            <pc:docMk/>
            <pc:sldMasterMk cId="4061182373" sldId="2147483765"/>
            <pc:sldLayoutMk cId="852776316" sldId="2147483857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503" v="486" actId="2696"/>
          <pc:sldLayoutMkLst>
            <pc:docMk/>
            <pc:sldMasterMk cId="4061182373" sldId="2147483765"/>
            <pc:sldLayoutMk cId="52547963" sldId="2147483858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697" v="487" actId="2696"/>
          <pc:sldLayoutMkLst>
            <pc:docMk/>
            <pc:sldMasterMk cId="4061182373" sldId="2147483765"/>
            <pc:sldLayoutMk cId="3040586616" sldId="2147483859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894" v="488" actId="2696"/>
          <pc:sldLayoutMkLst>
            <pc:docMk/>
            <pc:sldMasterMk cId="4061182373" sldId="2147483765"/>
            <pc:sldLayoutMk cId="2410126974" sldId="2147483860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087" v="489" actId="2696"/>
          <pc:sldLayoutMkLst>
            <pc:docMk/>
            <pc:sldMasterMk cId="4061182373" sldId="2147483765"/>
            <pc:sldLayoutMk cId="2418271629" sldId="2147483861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289" v="490" actId="2696"/>
          <pc:sldLayoutMkLst>
            <pc:docMk/>
            <pc:sldMasterMk cId="4061182373" sldId="2147483765"/>
            <pc:sldLayoutMk cId="2172461952" sldId="2147483862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526" v="491" actId="2696"/>
          <pc:sldLayoutMkLst>
            <pc:docMk/>
            <pc:sldMasterMk cId="4061182373" sldId="2147483765"/>
            <pc:sldLayoutMk cId="1470362008" sldId="2147483863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677" v="492" actId="2696"/>
          <pc:sldLayoutMkLst>
            <pc:docMk/>
            <pc:sldMasterMk cId="4061182373" sldId="2147483765"/>
            <pc:sldLayoutMk cId="847468963" sldId="2147483864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857" v="493" actId="2696"/>
          <pc:sldLayoutMkLst>
            <pc:docMk/>
            <pc:sldMasterMk cId="4061182373" sldId="2147483765"/>
            <pc:sldLayoutMk cId="1740555098" sldId="2147483865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041" v="494" actId="2696"/>
          <pc:sldLayoutMkLst>
            <pc:docMk/>
            <pc:sldMasterMk cId="4061182373" sldId="2147483765"/>
            <pc:sldLayoutMk cId="3624302369" sldId="2147483866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255" v="495" actId="2696"/>
          <pc:sldLayoutMkLst>
            <pc:docMk/>
            <pc:sldMasterMk cId="4061182373" sldId="2147483765"/>
            <pc:sldLayoutMk cId="3086097264" sldId="2147483867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439" v="496" actId="2696"/>
          <pc:sldLayoutMkLst>
            <pc:docMk/>
            <pc:sldMasterMk cId="4061182373" sldId="2147483765"/>
            <pc:sldLayoutMk cId="1568623073" sldId="2147483868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618" v="497" actId="2696"/>
          <pc:sldLayoutMkLst>
            <pc:docMk/>
            <pc:sldMasterMk cId="4061182373" sldId="2147483765"/>
            <pc:sldLayoutMk cId="2997662545" sldId="2147483869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38.446" v="498" actId="2696"/>
          <pc:sldLayoutMkLst>
            <pc:docMk/>
            <pc:sldMasterMk cId="4061182373" sldId="2147483765"/>
            <pc:sldLayoutMk cId="3709990802" sldId="2147483870"/>
          </pc:sldLayoutMkLst>
          <pc:spChg chg="mod">
            <ac:chgData name="Oscar Llorente Gonzalez" userId="e1d48c7f-7de1-49f5-ba88-07a54202ac7d" providerId="ADAL" clId="{2EB597FE-FE2E-47C9-86A5-2D441B3829E4}" dt="2024-02-08T10:58:26.595" v="442" actId="20577"/>
            <ac:spMkLst>
              <pc:docMk/>
              <pc:sldMasterMk cId="4061182373" sldId="2147483765"/>
              <pc:sldLayoutMk cId="3709990802" sldId="2147483870"/>
              <ac:spMk id="3" creationId="{C44ECCE6-4D94-443E-8C20-CA233A5C0572}"/>
            </ac:spMkLst>
          </pc:spChg>
        </pc:sldLayoutChg>
        <pc:sldLayoutChg chg="del">
          <pc:chgData name="Oscar Llorente Gonzalez" userId="e1d48c7f-7de1-49f5-ba88-07a54202ac7d" providerId="ADAL" clId="{2EB597FE-FE2E-47C9-86A5-2D441B3829E4}" dt="2024-02-08T11:02:38.757" v="499" actId="2696"/>
          <pc:sldLayoutMkLst>
            <pc:docMk/>
            <pc:sldMasterMk cId="4061182373" sldId="2147483765"/>
            <pc:sldLayoutMk cId="384908182" sldId="2147483871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9.348" v="500" actId="2696"/>
          <pc:sldLayoutMkLst>
            <pc:docMk/>
            <pc:sldMasterMk cId="4061182373" sldId="2147483765"/>
            <pc:sldLayoutMk cId="4177019301" sldId="2147483872"/>
          </pc:sldLayoutMkLst>
        </pc:sldLayoutChg>
      </pc:sldMasterChg>
    </pc:docChg>
  </pc:docChgLst>
  <pc:docChgLst>
    <pc:chgData name="Oscar Llorente Gonzalez" userId="e1d48c7f-7de1-49f5-ba88-07a54202ac7d" providerId="ADAL" clId="{F37813CC-6907-4F4D-B15A-1E0D0E480B20}"/>
    <pc:docChg chg="undo custSel addSld delSld modSld sldOrd modSection">
      <pc:chgData name="Oscar Llorente Gonzalez" userId="e1d48c7f-7de1-49f5-ba88-07a54202ac7d" providerId="ADAL" clId="{F37813CC-6907-4F4D-B15A-1E0D0E480B20}" dt="2025-02-20T16:27:17.600" v="1240" actId="1076"/>
      <pc:docMkLst>
        <pc:docMk/>
      </pc:docMkLst>
      <pc:sldChg chg="add del">
        <pc:chgData name="Oscar Llorente Gonzalez" userId="e1d48c7f-7de1-49f5-ba88-07a54202ac7d" providerId="ADAL" clId="{F37813CC-6907-4F4D-B15A-1E0D0E480B20}" dt="2025-02-18T09:27:35.685" v="315" actId="47"/>
        <pc:sldMkLst>
          <pc:docMk/>
          <pc:sldMk cId="4020115620" sldId="272"/>
        </pc:sldMkLst>
      </pc:sldChg>
      <pc:sldChg chg="add del">
        <pc:chgData name="Oscar Llorente Gonzalez" userId="e1d48c7f-7de1-49f5-ba88-07a54202ac7d" providerId="ADAL" clId="{F37813CC-6907-4F4D-B15A-1E0D0E480B20}" dt="2025-02-18T09:26:16.526" v="276" actId="47"/>
        <pc:sldMkLst>
          <pc:docMk/>
          <pc:sldMk cId="1271550209" sldId="1448943270"/>
        </pc:sldMkLst>
      </pc:sldChg>
      <pc:sldChg chg="add del">
        <pc:chgData name="Oscar Llorente Gonzalez" userId="e1d48c7f-7de1-49f5-ba88-07a54202ac7d" providerId="ADAL" clId="{F37813CC-6907-4F4D-B15A-1E0D0E480B20}" dt="2025-02-18T09:29:00.429" v="356" actId="47"/>
        <pc:sldMkLst>
          <pc:docMk/>
          <pc:sldMk cId="231722402" sldId="1448943272"/>
        </pc:sldMkLst>
      </pc:sldChg>
      <pc:sldChg chg="addSp modSp add ord">
        <pc:chgData name="Oscar Llorente Gonzalez" userId="e1d48c7f-7de1-49f5-ba88-07a54202ac7d" providerId="ADAL" clId="{F37813CC-6907-4F4D-B15A-1E0D0E480B20}" dt="2025-02-18T09:29:40.284" v="359"/>
        <pc:sldMkLst>
          <pc:docMk/>
          <pc:sldMk cId="2472580893" sldId="1448943273"/>
        </pc:sldMkLst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2" creationId="{9A343C09-6385-D488-E7D4-50891AFD389B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3" creationId="{2A6940D6-A6F2-7419-DF6E-C5DC46814D7E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2" creationId="{B06F4077-675E-AB16-32F3-C3FF0D3F764E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3" creationId="{1FA1FBF0-29EC-D419-96C2-55131FDC5D2D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4" creationId="{79097965-105A-EAA1-6355-B5109BEB5F4A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5" creationId="{AF79D7CB-9214-A2A1-2DFD-72AD63E1A823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6" creationId="{5E3D5165-FE1D-71AA-FDFF-8AC33628BCD4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7" creationId="{42E39122-DF8D-8B1E-278D-A59F64785C6B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8" creationId="{DAA6387B-18AB-CE86-8EB4-18E9290B6C8B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69" creationId="{2D961B41-F16C-B855-E2F3-7663761037AA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70" creationId="{C40A2235-429B-AC83-6DB9-1D8E6A60986D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89" creationId="{A5713B76-A582-14F2-2C5A-1D80641F919B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91" creationId="{367AE25D-2732-203F-4E29-436504F4F3ED}"/>
          </ac:spMkLst>
        </pc:spChg>
        <pc:spChg chg="add mod">
          <ac:chgData name="Oscar Llorente Gonzalez" userId="e1d48c7f-7de1-49f5-ba88-07a54202ac7d" providerId="ADAL" clId="{F37813CC-6907-4F4D-B15A-1E0D0E480B20}" dt="2025-02-18T09:24:32.724" v="237"/>
          <ac:spMkLst>
            <pc:docMk/>
            <pc:sldMk cId="2472580893" sldId="1448943273"/>
            <ac:spMk id="192" creationId="{14A4BDB6-EE60-82C6-A052-E609FFA7DBEF}"/>
          </ac:spMkLst>
        </pc:sp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1" creationId="{1FCACFBD-080A-061F-0775-B4FB239BAB4D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2" creationId="{11544DA2-0957-E886-4E31-4622FECE246E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3" creationId="{DEBDE898-F44D-4D18-DDCE-2CF4A0B34F0F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4" creationId="{6AB58B1B-F2BA-084C-45B8-A829BBE038E1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5" creationId="{8CDC86E6-E6FD-418D-4428-10689C12D4C7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6" creationId="{ED6CE3A7-B640-977D-37AD-4B8A8D26CF35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7" creationId="{79CE322D-B347-09D7-B6A6-92B40005EB16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8" creationId="{7C5D2BA8-8117-ACCD-E58A-8E4D620BD395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79" creationId="{F2738F81-A15A-1E62-FCD4-707E875EDF02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0" creationId="{47C341CD-1CED-D409-954D-FDF2FF97E06F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1" creationId="{C7453AAF-E6AD-985D-E2D7-1068DE71F1E6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2" creationId="{E6F7CEAC-E769-327D-836A-712F7FBD9D22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3" creationId="{19CB064E-C503-89C2-7A49-2448225AFB1B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4" creationId="{1CE3CBF5-133D-C215-14AC-0B9F5B7FC2C1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5" creationId="{98907E8E-A0BF-C9CA-44E7-6F940BCD6E64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6" creationId="{8A500458-9D67-A4C5-CA02-FDD6D60A8925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7" creationId="{04681E27-EF12-FBAD-12D5-A7414B44C03D}"/>
          </ac:picMkLst>
        </pc:picChg>
        <pc:picChg chg="add mod">
          <ac:chgData name="Oscar Llorente Gonzalez" userId="e1d48c7f-7de1-49f5-ba88-07a54202ac7d" providerId="ADAL" clId="{F37813CC-6907-4F4D-B15A-1E0D0E480B20}" dt="2025-02-18T09:24:32.724" v="237"/>
          <ac:picMkLst>
            <pc:docMk/>
            <pc:sldMk cId="2472580893" sldId="1448943273"/>
            <ac:picMk id="188" creationId="{608E24EE-C3F5-3667-1FBB-1C85C279AA72}"/>
          </ac:picMkLst>
        </pc:picChg>
        <pc:cxnChg chg="add mod">
          <ac:chgData name="Oscar Llorente Gonzalez" userId="e1d48c7f-7de1-49f5-ba88-07a54202ac7d" providerId="ADAL" clId="{F37813CC-6907-4F4D-B15A-1E0D0E480B20}" dt="2025-02-18T09:24:32.724" v="237"/>
          <ac:cxnSpMkLst>
            <pc:docMk/>
            <pc:sldMk cId="2472580893" sldId="1448943273"/>
            <ac:cxnSpMk id="190" creationId="{BF35B69B-0ED1-AFFA-F5BE-548BE794F196}"/>
          </ac:cxnSpMkLst>
        </pc:cxnChg>
      </pc:sldChg>
      <pc:sldChg chg="modSp mod">
        <pc:chgData name="Oscar Llorente Gonzalez" userId="e1d48c7f-7de1-49f5-ba88-07a54202ac7d" providerId="ADAL" clId="{F37813CC-6907-4F4D-B15A-1E0D0E480B20}" dt="2025-02-18T15:55:30.157" v="707" actId="14100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F37813CC-6907-4F4D-B15A-1E0D0E480B20}" dt="2025-02-18T08:49:08.061" v="18" actId="20577"/>
          <ac:spMkLst>
            <pc:docMk/>
            <pc:sldMk cId="46647062" sldId="2147479193"/>
            <ac:spMk id="4" creationId="{CF1133B3-17C3-57AA-A549-C7EA019C2094}"/>
          </ac:spMkLst>
        </pc:spChg>
        <pc:spChg chg="mod">
          <ac:chgData name="Oscar Llorente Gonzalez" userId="e1d48c7f-7de1-49f5-ba88-07a54202ac7d" providerId="ADAL" clId="{F37813CC-6907-4F4D-B15A-1E0D0E480B20}" dt="2025-02-18T15:53:38.866" v="554" actId="20577"/>
          <ac:spMkLst>
            <pc:docMk/>
            <pc:sldMk cId="46647062" sldId="2147479193"/>
            <ac:spMk id="20" creationId="{BDDCF03B-24AE-05EB-527C-A8170D91E665}"/>
          </ac:spMkLst>
        </pc:spChg>
        <pc:spChg chg="mod">
          <ac:chgData name="Oscar Llorente Gonzalez" userId="e1d48c7f-7de1-49f5-ba88-07a54202ac7d" providerId="ADAL" clId="{F37813CC-6907-4F4D-B15A-1E0D0E480B20}" dt="2025-02-18T15:54:53.978" v="651" actId="20577"/>
          <ac:spMkLst>
            <pc:docMk/>
            <pc:sldMk cId="46647062" sldId="2147479193"/>
            <ac:spMk id="22" creationId="{18B85F4C-6797-89F5-6EA7-2997BBF4E4B1}"/>
          </ac:spMkLst>
        </pc:spChg>
        <pc:spChg chg="mod">
          <ac:chgData name="Oscar Llorente Gonzalez" userId="e1d48c7f-7de1-49f5-ba88-07a54202ac7d" providerId="ADAL" clId="{F37813CC-6907-4F4D-B15A-1E0D0E480B20}" dt="2025-02-18T15:55:30.157" v="707" actId="14100"/>
          <ac:spMkLst>
            <pc:docMk/>
            <pc:sldMk cId="46647062" sldId="2147479193"/>
            <ac:spMk id="23" creationId="{15695D72-E891-28A4-9B93-F7EB42BD3606}"/>
          </ac:spMkLst>
        </pc:spChg>
      </pc:sldChg>
      <pc:sldChg chg="del">
        <pc:chgData name="Oscar Llorente Gonzalez" userId="e1d48c7f-7de1-49f5-ba88-07a54202ac7d" providerId="ADAL" clId="{F37813CC-6907-4F4D-B15A-1E0D0E480B20}" dt="2025-02-18T08:59:40.665" v="117" actId="47"/>
        <pc:sldMkLst>
          <pc:docMk/>
          <pc:sldMk cId="1646425188" sldId="2147479822"/>
        </pc:sldMkLst>
      </pc:sldChg>
      <pc:sldChg chg="addSp delSp modSp mod">
        <pc:chgData name="Oscar Llorente Gonzalez" userId="e1d48c7f-7de1-49f5-ba88-07a54202ac7d" providerId="ADAL" clId="{F37813CC-6907-4F4D-B15A-1E0D0E480B20}" dt="2025-02-18T09:00:17.499" v="139" actId="1076"/>
        <pc:sldMkLst>
          <pc:docMk/>
          <pc:sldMk cId="349078831" sldId="2147479823"/>
        </pc:sldMkLst>
        <pc:spChg chg="del mod">
          <ac:chgData name="Oscar Llorente Gonzalez" userId="e1d48c7f-7de1-49f5-ba88-07a54202ac7d" providerId="ADAL" clId="{F37813CC-6907-4F4D-B15A-1E0D0E480B20}" dt="2025-02-18T09:00:11.380" v="135" actId="478"/>
          <ac:spMkLst>
            <pc:docMk/>
            <pc:sldMk cId="349078831" sldId="2147479823"/>
            <ac:spMk id="2" creationId="{D78CBC8A-DA85-2E9D-716F-1B672AEBC7DD}"/>
          </ac:spMkLst>
        </pc:spChg>
        <pc:spChg chg="del">
          <ac:chgData name="Oscar Llorente Gonzalez" userId="e1d48c7f-7de1-49f5-ba88-07a54202ac7d" providerId="ADAL" clId="{F37813CC-6907-4F4D-B15A-1E0D0E480B20}" dt="2025-02-18T08:56:13.247" v="108" actId="478"/>
          <ac:spMkLst>
            <pc:docMk/>
            <pc:sldMk cId="349078831" sldId="2147479823"/>
            <ac:spMk id="3" creationId="{FB42A628-7DFD-FDC0-E32F-E747A03697F9}"/>
          </ac:spMkLst>
        </pc:spChg>
        <pc:spChg chg="add">
          <ac:chgData name="Oscar Llorente Gonzalez" userId="e1d48c7f-7de1-49f5-ba88-07a54202ac7d" providerId="ADAL" clId="{F37813CC-6907-4F4D-B15A-1E0D0E480B20}" dt="2025-02-18T08:56:14.400" v="109"/>
          <ac:spMkLst>
            <pc:docMk/>
            <pc:sldMk cId="349078831" sldId="2147479823"/>
            <ac:spMk id="4" creationId="{6994DA6C-FDE3-D550-23DC-C4D193F533B2}"/>
          </ac:spMkLst>
        </pc:spChg>
        <pc:spChg chg="add">
          <ac:chgData name="Oscar Llorente Gonzalez" userId="e1d48c7f-7de1-49f5-ba88-07a54202ac7d" providerId="ADAL" clId="{F37813CC-6907-4F4D-B15A-1E0D0E480B20}" dt="2025-02-18T08:56:19.349" v="110"/>
          <ac:spMkLst>
            <pc:docMk/>
            <pc:sldMk cId="349078831" sldId="2147479823"/>
            <ac:spMk id="5" creationId="{C6AA7C78-D7B1-F9DF-27EC-9CF513D0882C}"/>
          </ac:spMkLst>
        </pc:spChg>
        <pc:spChg chg="add">
          <ac:chgData name="Oscar Llorente Gonzalez" userId="e1d48c7f-7de1-49f5-ba88-07a54202ac7d" providerId="ADAL" clId="{F37813CC-6907-4F4D-B15A-1E0D0E480B20}" dt="2025-02-18T08:56:33.572" v="111"/>
          <ac:spMkLst>
            <pc:docMk/>
            <pc:sldMk cId="349078831" sldId="2147479823"/>
            <ac:spMk id="6" creationId="{AD2F37A4-0EC8-5ED9-BBBC-A4BE0995CCF9}"/>
          </ac:spMkLst>
        </pc:spChg>
        <pc:spChg chg="add del mod">
          <ac:chgData name="Oscar Llorente Gonzalez" userId="e1d48c7f-7de1-49f5-ba88-07a54202ac7d" providerId="ADAL" clId="{F37813CC-6907-4F4D-B15A-1E0D0E480B20}" dt="2025-02-18T09:00:12.958" v="136" actId="478"/>
          <ac:spMkLst>
            <pc:docMk/>
            <pc:sldMk cId="349078831" sldId="2147479823"/>
            <ac:spMk id="8" creationId="{D8F8BA4D-D0F1-E7ED-BAE1-EEE7E51DEA71}"/>
          </ac:spMkLst>
        </pc:spChg>
        <pc:picChg chg="add">
          <ac:chgData name="Oscar Llorente Gonzalez" userId="e1d48c7f-7de1-49f5-ba88-07a54202ac7d" providerId="ADAL" clId="{F37813CC-6907-4F4D-B15A-1E0D0E480B20}" dt="2025-02-18T08:52:58.191" v="106"/>
          <ac:picMkLst>
            <pc:docMk/>
            <pc:sldMk cId="349078831" sldId="2147479823"/>
            <ac:picMk id="1026" creationId="{57F17F57-302E-CE10-6DE5-CD346E1F24DD}"/>
          </ac:picMkLst>
        </pc:picChg>
        <pc:picChg chg="add">
          <ac:chgData name="Oscar Llorente Gonzalez" userId="e1d48c7f-7de1-49f5-ba88-07a54202ac7d" providerId="ADAL" clId="{F37813CC-6907-4F4D-B15A-1E0D0E480B20}" dt="2025-02-18T08:53:51.929" v="107"/>
          <ac:picMkLst>
            <pc:docMk/>
            <pc:sldMk cId="349078831" sldId="2147479823"/>
            <ac:picMk id="1028" creationId="{AA4D81A0-5C1A-9969-5438-FB75562C4AC1}"/>
          </ac:picMkLst>
        </pc:picChg>
        <pc:picChg chg="add mod">
          <ac:chgData name="Oscar Llorente Gonzalez" userId="e1d48c7f-7de1-49f5-ba88-07a54202ac7d" providerId="ADAL" clId="{F37813CC-6907-4F4D-B15A-1E0D0E480B20}" dt="2025-02-18T09:00:17.499" v="139" actId="1076"/>
          <ac:picMkLst>
            <pc:docMk/>
            <pc:sldMk cId="349078831" sldId="2147479823"/>
            <ac:picMk id="1036" creationId="{72AF0A2B-EBD1-3DAB-D2F8-7BF8FB531271}"/>
          </ac:picMkLst>
        </pc:picChg>
      </pc:sldChg>
      <pc:sldChg chg="addSp delSp modSp new mod ord">
        <pc:chgData name="Oscar Llorente Gonzalez" userId="e1d48c7f-7de1-49f5-ba88-07a54202ac7d" providerId="ADAL" clId="{F37813CC-6907-4F4D-B15A-1E0D0E480B20}" dt="2025-02-18T15:53:55.648" v="577" actId="790"/>
        <pc:sldMkLst>
          <pc:docMk/>
          <pc:sldMk cId="2504933933" sldId="2147479824"/>
        </pc:sldMkLst>
        <pc:spChg chg="mod">
          <ac:chgData name="Oscar Llorente Gonzalez" userId="e1d48c7f-7de1-49f5-ba88-07a54202ac7d" providerId="ADAL" clId="{F37813CC-6907-4F4D-B15A-1E0D0E480B20}" dt="2025-02-18T15:53:55.648" v="577" actId="790"/>
          <ac:spMkLst>
            <pc:docMk/>
            <pc:sldMk cId="2504933933" sldId="2147479824"/>
            <ac:spMk id="2" creationId="{BD428CC4-BCB9-CF6F-3B85-8CF76EAC23F2}"/>
          </ac:spMkLst>
        </pc:spChg>
        <pc:spChg chg="del">
          <ac:chgData name="Oscar Llorente Gonzalez" userId="e1d48c7f-7de1-49f5-ba88-07a54202ac7d" providerId="ADAL" clId="{F37813CC-6907-4F4D-B15A-1E0D0E480B20}" dt="2025-02-18T09:01:28.032" v="143" actId="478"/>
          <ac:spMkLst>
            <pc:docMk/>
            <pc:sldMk cId="2504933933" sldId="2147479824"/>
            <ac:spMk id="3" creationId="{2D262302-563A-889E-B4FA-FF286C788A0F}"/>
          </ac:spMkLst>
        </pc:spChg>
        <pc:picChg chg="add mod modCrop">
          <ac:chgData name="Oscar Llorente Gonzalez" userId="e1d48c7f-7de1-49f5-ba88-07a54202ac7d" providerId="ADAL" clId="{F37813CC-6907-4F4D-B15A-1E0D0E480B20}" dt="2025-02-18T09:04:12.223" v="161" actId="1076"/>
          <ac:picMkLst>
            <pc:docMk/>
            <pc:sldMk cId="2504933933" sldId="2147479824"/>
            <ac:picMk id="5" creationId="{775648F1-776B-381E-0A83-ECA86CCEF714}"/>
          </ac:picMkLst>
        </pc:picChg>
        <pc:picChg chg="add mod">
          <ac:chgData name="Oscar Llorente Gonzalez" userId="e1d48c7f-7de1-49f5-ba88-07a54202ac7d" providerId="ADAL" clId="{F37813CC-6907-4F4D-B15A-1E0D0E480B20}" dt="2025-02-18T09:03:57.288" v="155" actId="1076"/>
          <ac:picMkLst>
            <pc:docMk/>
            <pc:sldMk cId="2504933933" sldId="2147479824"/>
            <ac:picMk id="7" creationId="{B10BD88C-136D-5A58-B042-7034E81BC7A6}"/>
          </ac:picMkLst>
        </pc:picChg>
      </pc:sldChg>
      <pc:sldChg chg="addSp delSp modSp new mod">
        <pc:chgData name="Oscar Llorente Gonzalez" userId="e1d48c7f-7de1-49f5-ba88-07a54202ac7d" providerId="ADAL" clId="{F37813CC-6907-4F4D-B15A-1E0D0E480B20}" dt="2025-02-18T09:17:59.735" v="215" actId="790"/>
        <pc:sldMkLst>
          <pc:docMk/>
          <pc:sldMk cId="927779489" sldId="2147479825"/>
        </pc:sldMkLst>
        <pc:spChg chg="mod">
          <ac:chgData name="Oscar Llorente Gonzalez" userId="e1d48c7f-7de1-49f5-ba88-07a54202ac7d" providerId="ADAL" clId="{F37813CC-6907-4F4D-B15A-1E0D0E480B20}" dt="2025-02-18T09:17:59.735" v="215" actId="790"/>
          <ac:spMkLst>
            <pc:docMk/>
            <pc:sldMk cId="927779489" sldId="2147479825"/>
            <ac:spMk id="2" creationId="{9ECB7AE7-7E59-6681-05F5-63E56DD98B4F}"/>
          </ac:spMkLst>
        </pc:spChg>
        <pc:spChg chg="del">
          <ac:chgData name="Oscar Llorente Gonzalez" userId="e1d48c7f-7de1-49f5-ba88-07a54202ac7d" providerId="ADAL" clId="{F37813CC-6907-4F4D-B15A-1E0D0E480B20}" dt="2025-02-18T09:15:46.533" v="194" actId="478"/>
          <ac:spMkLst>
            <pc:docMk/>
            <pc:sldMk cId="927779489" sldId="2147479825"/>
            <ac:spMk id="3" creationId="{38DB20B7-ACFF-05BF-251E-B636BACD33C3}"/>
          </ac:spMkLst>
        </pc:spChg>
        <pc:picChg chg="add">
          <ac:chgData name="Oscar Llorente Gonzalez" userId="e1d48c7f-7de1-49f5-ba88-07a54202ac7d" providerId="ADAL" clId="{F37813CC-6907-4F4D-B15A-1E0D0E480B20}" dt="2025-02-18T09:15:47.723" v="195"/>
          <ac:picMkLst>
            <pc:docMk/>
            <pc:sldMk cId="927779489" sldId="2147479825"/>
            <ac:picMk id="2050" creationId="{726E58A9-1AE6-DDA8-D91F-3FB7770ACC4C}"/>
          </ac:picMkLst>
        </pc:picChg>
      </pc:sldChg>
      <pc:sldChg chg="addSp delSp modSp new mod ord">
        <pc:chgData name="Oscar Llorente Gonzalez" userId="e1d48c7f-7de1-49f5-ba88-07a54202ac7d" providerId="ADAL" clId="{F37813CC-6907-4F4D-B15A-1E0D0E480B20}" dt="2025-02-18T09:23:57.871" v="234" actId="1076"/>
        <pc:sldMkLst>
          <pc:docMk/>
          <pc:sldMk cId="2640841549" sldId="2147479826"/>
        </pc:sldMkLst>
        <pc:spChg chg="mod">
          <ac:chgData name="Oscar Llorente Gonzalez" userId="e1d48c7f-7de1-49f5-ba88-07a54202ac7d" providerId="ADAL" clId="{F37813CC-6907-4F4D-B15A-1E0D0E480B20}" dt="2025-02-18T09:17:53.750" v="214" actId="790"/>
          <ac:spMkLst>
            <pc:docMk/>
            <pc:sldMk cId="2640841549" sldId="2147479826"/>
            <ac:spMk id="2" creationId="{CC8BD817-E005-6A28-A16C-D8E49535C84D}"/>
          </ac:spMkLst>
        </pc:spChg>
        <pc:spChg chg="del">
          <ac:chgData name="Oscar Llorente Gonzalez" userId="e1d48c7f-7de1-49f5-ba88-07a54202ac7d" providerId="ADAL" clId="{F37813CC-6907-4F4D-B15A-1E0D0E480B20}" dt="2025-02-18T09:20:10.379" v="216" actId="478"/>
          <ac:spMkLst>
            <pc:docMk/>
            <pc:sldMk cId="2640841549" sldId="2147479826"/>
            <ac:spMk id="3" creationId="{6A674B9C-2677-7403-3AE8-B971A8931FC2}"/>
          </ac:spMkLst>
        </pc:spChg>
        <pc:picChg chg="add mod">
          <ac:chgData name="Oscar Llorente Gonzalez" userId="e1d48c7f-7de1-49f5-ba88-07a54202ac7d" providerId="ADAL" clId="{F37813CC-6907-4F4D-B15A-1E0D0E480B20}" dt="2025-02-18T09:23:56.741" v="233" actId="1076"/>
          <ac:picMkLst>
            <pc:docMk/>
            <pc:sldMk cId="2640841549" sldId="2147479826"/>
            <ac:picMk id="5" creationId="{9FD0CFBC-41B3-25DB-8EE7-345A07B62414}"/>
          </ac:picMkLst>
        </pc:picChg>
        <pc:picChg chg="add mod modCrop">
          <ac:chgData name="Oscar Llorente Gonzalez" userId="e1d48c7f-7de1-49f5-ba88-07a54202ac7d" providerId="ADAL" clId="{F37813CC-6907-4F4D-B15A-1E0D0E480B20}" dt="2025-02-18T09:23:57.871" v="234" actId="1076"/>
          <ac:picMkLst>
            <pc:docMk/>
            <pc:sldMk cId="2640841549" sldId="2147479826"/>
            <ac:picMk id="7" creationId="{884D4DAB-104E-F7E2-D623-E2890242BFB6}"/>
          </ac:picMkLst>
        </pc:picChg>
      </pc:sldChg>
      <pc:sldChg chg="addSp delSp modSp new del mod">
        <pc:chgData name="Oscar Llorente Gonzalez" userId="e1d48c7f-7de1-49f5-ba88-07a54202ac7d" providerId="ADAL" clId="{F37813CC-6907-4F4D-B15A-1E0D0E480B20}" dt="2025-02-18T09:29:02.774" v="357" actId="47"/>
        <pc:sldMkLst>
          <pc:docMk/>
          <pc:sldMk cId="3299592854" sldId="2147479827"/>
        </pc:sldMkLst>
        <pc:spChg chg="del">
          <ac:chgData name="Oscar Llorente Gonzalez" userId="e1d48c7f-7de1-49f5-ba88-07a54202ac7d" providerId="ADAL" clId="{F37813CC-6907-4F4D-B15A-1E0D0E480B20}" dt="2025-02-18T09:24:42.838" v="240" actId="478"/>
          <ac:spMkLst>
            <pc:docMk/>
            <pc:sldMk cId="3299592854" sldId="2147479827"/>
            <ac:spMk id="3" creationId="{8B0D6996-27BE-95B0-3EDF-921C5DDC4172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4" creationId="{E19B43D5-A09D-D212-7276-6D3B254AE47C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5" creationId="{F3BF3DCC-81FB-8B23-AE47-7F0C9EC6247A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6" creationId="{1C143F73-09B6-3966-4504-872BDA11E724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7" creationId="{64748ED1-EF2B-6D9F-5BD3-D915BE656D17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8" creationId="{0EBC3479-8B07-AF9B-2FD1-8BAA7B328BF2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9" creationId="{0D434A91-F053-B2C4-0F3B-2658D0993EBF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10" creationId="{F6A38F8F-706B-61FC-06AD-D909B25A8A81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11" creationId="{02535E46-4C81-0168-5015-61C6F15A298F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12" creationId="{2CEDF0E4-F588-F8EA-B712-8EE76C67D9A7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13" creationId="{9128ADA2-865B-94E1-23FF-653BA71500B4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14" creationId="{83945652-811F-A346-CD51-2B9D805D7A5E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33" creationId="{068BF063-4F23-E11A-CE74-127E422A9C5B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35" creationId="{3E32DCE9-E556-8520-AAFA-D24C1B23AA1D}"/>
          </ac:spMkLst>
        </pc:spChg>
        <pc:spChg chg="add mod">
          <ac:chgData name="Oscar Llorente Gonzalez" userId="e1d48c7f-7de1-49f5-ba88-07a54202ac7d" providerId="ADAL" clId="{F37813CC-6907-4F4D-B15A-1E0D0E480B20}" dt="2025-02-18T09:24:36.400" v="239"/>
          <ac:spMkLst>
            <pc:docMk/>
            <pc:sldMk cId="3299592854" sldId="2147479827"/>
            <ac:spMk id="36" creationId="{08E0846F-2F59-6627-850E-00F4EB95F8A5}"/>
          </ac:spMkLst>
        </pc:sp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15" creationId="{0A83416F-B4E1-0DCD-A67D-4FD73720DEA3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16" creationId="{2AF33A07-D341-388B-243A-A37C398D11F9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17" creationId="{BF69B5EA-FF1B-EBAF-5712-407F3F1D2250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18" creationId="{7AABE742-D5CC-F04B-AF69-5609E38F7631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19" creationId="{BC578E63-7D7B-AF74-EDE0-966EF5434AD1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0" creationId="{84AB337E-A81D-533D-2F48-74421630671A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1" creationId="{C3976E03-ECC4-8460-41F7-092E2D7395C6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2" creationId="{349B354B-C502-66DF-344E-7CB1D9145BDF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3" creationId="{AEF37395-36F6-0B71-D6D4-C0C464DE1DE3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4" creationId="{D8ADE99F-260A-A2E9-7B9C-DD2CBD72BFAB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5" creationId="{B1383210-E2C1-CD9A-B28C-80639056D1E3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6" creationId="{C31E5040-B5EB-BEAF-7E29-69923153F320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7" creationId="{3341B171-F6D2-C3A6-8F0D-94431FD19813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8" creationId="{D2BC15DE-62B1-3249-9155-DCF905AAF163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29" creationId="{3CD79406-6C3E-1E75-FECD-A992AB6F4BD8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30" creationId="{36316E21-ED75-A7C5-1B5E-FD4309E283B3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31" creationId="{EA5E1AB5-FB91-1BDF-73D9-EB4FA9B0FA2F}"/>
          </ac:picMkLst>
        </pc:picChg>
        <pc:picChg chg="add mod">
          <ac:chgData name="Oscar Llorente Gonzalez" userId="e1d48c7f-7de1-49f5-ba88-07a54202ac7d" providerId="ADAL" clId="{F37813CC-6907-4F4D-B15A-1E0D0E480B20}" dt="2025-02-18T09:24:36.400" v="239"/>
          <ac:picMkLst>
            <pc:docMk/>
            <pc:sldMk cId="3299592854" sldId="2147479827"/>
            <ac:picMk id="32" creationId="{59D89D8A-5262-1DB0-2932-3376EC43254E}"/>
          </ac:picMkLst>
        </pc:picChg>
        <pc:picChg chg="add">
          <ac:chgData name="Oscar Llorente Gonzalez" userId="e1d48c7f-7de1-49f5-ba88-07a54202ac7d" providerId="ADAL" clId="{F37813CC-6907-4F4D-B15A-1E0D0E480B20}" dt="2025-02-18T09:24:44.459" v="241"/>
          <ac:picMkLst>
            <pc:docMk/>
            <pc:sldMk cId="3299592854" sldId="2147479827"/>
            <ac:picMk id="37" creationId="{807A325D-37F0-35D8-6C12-1C0E71CBCD45}"/>
          </ac:picMkLst>
        </pc:picChg>
        <pc:cxnChg chg="add mod">
          <ac:chgData name="Oscar Llorente Gonzalez" userId="e1d48c7f-7de1-49f5-ba88-07a54202ac7d" providerId="ADAL" clId="{F37813CC-6907-4F4D-B15A-1E0D0E480B20}" dt="2025-02-18T09:24:36.400" v="239"/>
          <ac:cxnSpMkLst>
            <pc:docMk/>
            <pc:sldMk cId="3299592854" sldId="2147479827"/>
            <ac:cxnSpMk id="34" creationId="{952609F5-A621-A063-0EF4-657BF88084F4}"/>
          </ac:cxnSpMkLst>
        </pc:cxnChg>
      </pc:sldChg>
      <pc:sldChg chg="addSp delSp modSp new mod modAnim">
        <pc:chgData name="Oscar Llorente Gonzalez" userId="e1d48c7f-7de1-49f5-ba88-07a54202ac7d" providerId="ADAL" clId="{F37813CC-6907-4F4D-B15A-1E0D0E480B20}" dt="2025-02-18T09:27:31.657" v="312" actId="1076"/>
        <pc:sldMkLst>
          <pc:docMk/>
          <pc:sldMk cId="3265116380" sldId="2147479828"/>
        </pc:sldMkLst>
        <pc:spChg chg="del mod">
          <ac:chgData name="Oscar Llorente Gonzalez" userId="e1d48c7f-7de1-49f5-ba88-07a54202ac7d" providerId="ADAL" clId="{F37813CC-6907-4F4D-B15A-1E0D0E480B20}" dt="2025-02-18T09:27:23.550" v="310" actId="478"/>
          <ac:spMkLst>
            <pc:docMk/>
            <pc:sldMk cId="3265116380" sldId="2147479828"/>
            <ac:spMk id="2" creationId="{463F8378-C9D0-78A5-B7D3-19A3C0AFF8A7}"/>
          </ac:spMkLst>
        </pc:spChg>
        <pc:spChg chg="del">
          <ac:chgData name="Oscar Llorente Gonzalez" userId="e1d48c7f-7de1-49f5-ba88-07a54202ac7d" providerId="ADAL" clId="{F37813CC-6907-4F4D-B15A-1E0D0E480B20}" dt="2025-02-18T09:26:41.031" v="279" actId="478"/>
          <ac:spMkLst>
            <pc:docMk/>
            <pc:sldMk cId="3265116380" sldId="2147479828"/>
            <ac:spMk id="3" creationId="{60D7F4C9-210E-E1C1-6A43-E3B1F6A88779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4" creationId="{BE8F2AAA-3B88-0C40-688E-1318FF8EE957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5" creationId="{F271617C-ADA1-C002-0184-A1039F615002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13" creationId="{CE40DE94-2BF9-CE87-716A-E44E7D71BA5B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14" creationId="{8BC858B6-9369-7DA5-DE84-255A4F90E996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15" creationId="{8DF76DB5-0F49-2A66-FF41-41BFA849E8DF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17" creationId="{00117635-F101-060A-3F18-73B95A1C286D}"/>
          </ac:spMkLst>
        </pc:spChg>
        <pc:spChg chg="add mod">
          <ac:chgData name="Oscar Llorente Gonzalez" userId="e1d48c7f-7de1-49f5-ba88-07a54202ac7d" providerId="ADAL" clId="{F37813CC-6907-4F4D-B15A-1E0D0E480B20}" dt="2025-02-18T09:25:06.098" v="245"/>
          <ac:spMkLst>
            <pc:docMk/>
            <pc:sldMk cId="3265116380" sldId="2147479828"/>
            <ac:spMk id="18" creationId="{C72F2F74-6F27-0AB2-B2C9-B08470B71DBC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19" creationId="{BF8A7EFC-ACD1-C780-217D-5E72EC58C003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20" creationId="{5548EC01-75FD-B9A6-C433-8E017ABFEE3F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28" creationId="{63A00D0B-66E8-1C53-9ECD-89EBF1104CC0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29" creationId="{14958866-FD98-8C40-0E9D-88C3CCB4ACC3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30" creationId="{C9EE5201-CBA2-A842-AFDC-518FD5720F69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32" creationId="{14A8C3D5-B1A2-45AD-99DD-74C99049F520}"/>
          </ac:spMkLst>
        </pc:spChg>
        <pc:spChg chg="add mod">
          <ac:chgData name="Oscar Llorente Gonzalez" userId="e1d48c7f-7de1-49f5-ba88-07a54202ac7d" providerId="ADAL" clId="{F37813CC-6907-4F4D-B15A-1E0D0E480B20}" dt="2025-02-18T09:25:20.091" v="248" actId="14100"/>
          <ac:spMkLst>
            <pc:docMk/>
            <pc:sldMk cId="3265116380" sldId="2147479828"/>
            <ac:spMk id="33" creationId="{D530501F-E293-86BA-D9F6-3E653D9C5740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37" creationId="{8D3E7455-A9AD-ACCE-525B-BE284D13C906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38" creationId="{4E10C0F2-CC57-DBAF-9248-9CFDA1A47A84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46" creationId="{13A26E52-B142-7F3B-BC9A-DCDF9F4E6DB4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47" creationId="{FC1180EB-724B-6D96-ADC9-2A038B82525E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48" creationId="{9AB3CF50-AAD4-4BED-0EBE-F5BA2164A5D1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50" creationId="{61CA57FC-CBAE-E125-75B9-BB3E4F08D6FE}"/>
          </ac:spMkLst>
        </pc:spChg>
        <pc:spChg chg="add mod">
          <ac:chgData name="Oscar Llorente Gonzalez" userId="e1d48c7f-7de1-49f5-ba88-07a54202ac7d" providerId="ADAL" clId="{F37813CC-6907-4F4D-B15A-1E0D0E480B20}" dt="2025-02-18T09:25:26.010" v="249"/>
          <ac:spMkLst>
            <pc:docMk/>
            <pc:sldMk cId="3265116380" sldId="2147479828"/>
            <ac:spMk id="51" creationId="{55682A86-8167-B0CD-35F3-16A51FABE9F2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53" creationId="{5CEF8C57-5604-0E06-0CFD-744FFB9FCE18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54" creationId="{AB6F92DD-FACA-9BEA-A098-796BB81447D2}"/>
          </ac:spMkLst>
        </pc:spChg>
        <pc:spChg chg="add 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55" creationId="{86A7D27B-38B4-74AA-377A-46E86AD50E32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57" creationId="{2A2B4C05-68B1-4AA4-1B4E-2C88C7C69CF2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58" creationId="{D44C6723-EA61-8D85-09CA-A6E759200CAD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59" creationId="{7F5D57C1-1986-1AE8-B4FA-56F020384998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60" creationId="{AB3E1A48-D09A-AD24-20EB-86E3E7B5218E}"/>
          </ac:spMkLst>
        </pc:spChg>
        <pc:spChg chg="add 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61" creationId="{447B0DBA-82F1-0B62-0C8A-061D223E795E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63" creationId="{0D2F9353-CD06-BCDA-FED0-229FE181620C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64" creationId="{CA0A1E5F-11EF-E8CA-E43E-3741A2F9BA9A}"/>
          </ac:spMkLst>
        </pc:spChg>
        <pc:spChg chg="add 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65" creationId="{BFD52A41-23C5-84CC-EF1A-187316C00F54}"/>
          </ac:spMkLst>
        </pc:spChg>
        <pc:spChg chg="add 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66" creationId="{2739B237-3785-C252-0904-F8F64049D0FA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79" creationId="{A4597934-3594-1CAC-09B5-88C875672FF5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0" creationId="{517B8159-58A6-6A3C-8FE7-3E40C27F8ADD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1" creationId="{42F4657C-DB7F-1F6C-E340-5FC49ACC6609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2" creationId="{08521A05-FBD4-41C4-29EA-19A20C5DA16C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3" creationId="{4ED7388E-B795-6525-68B9-EB742C74E865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4" creationId="{7C7C30B6-B651-7DD6-60E8-B62A4E3710DA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5" creationId="{6419C696-1BAF-4FCB-E407-32A6BA91BF72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6" creationId="{1AFDC468-2539-2684-DFED-5174A91B350E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7" creationId="{FBA95BED-7205-37FA-0ECC-AACA8A0BC22A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8" creationId="{0AF2ACB3-987F-2B6C-FE11-862E905B8064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89" creationId="{814244A1-0BCE-AED5-4865-02562F60F868}"/>
          </ac:spMkLst>
        </pc:spChg>
        <pc:spChg chg="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90" creationId="{B677E7E3-AE98-05E9-7370-83EDA0616483}"/>
          </ac:spMkLst>
        </pc:spChg>
        <pc:spChg chg="add mod">
          <ac:chgData name="Oscar Llorente Gonzalez" userId="e1d48c7f-7de1-49f5-ba88-07a54202ac7d" providerId="ADAL" clId="{F37813CC-6907-4F4D-B15A-1E0D0E480B20}" dt="2025-02-18T09:26:41.201" v="280"/>
          <ac:spMkLst>
            <pc:docMk/>
            <pc:sldMk cId="3265116380" sldId="2147479828"/>
            <ac:spMk id="91" creationId="{85F59E0E-53B3-2D65-597D-5CFB48CE237F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06" creationId="{DD09C8C4-90D8-DAC1-1F02-62561D32D6B3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07" creationId="{69FB8E97-B92A-AFF0-7765-9C330092A2CA}"/>
          </ac:spMkLst>
        </pc:spChg>
        <pc:spChg chg="add mod">
          <ac:chgData name="Oscar Llorente Gonzalez" userId="e1d48c7f-7de1-49f5-ba88-07a54202ac7d" providerId="ADAL" clId="{F37813CC-6907-4F4D-B15A-1E0D0E480B20}" dt="2025-02-18T09:27:31.657" v="312" actId="1076"/>
          <ac:spMkLst>
            <pc:docMk/>
            <pc:sldMk cId="3265116380" sldId="2147479828"/>
            <ac:spMk id="108" creationId="{9E5226B6-73E8-0F37-CF87-647F0A5E8BD8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0" creationId="{5E59CA10-6908-33AE-BCCF-64FC5F090E32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1" creationId="{84852F92-A1B7-18F8-C4D1-04A6A8F2885F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2" creationId="{3F977C77-16F6-EC5C-156A-A1B0C40EED1F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3" creationId="{3CCEED6A-326C-9000-5A3E-78B32493C755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5" creationId="{70C9F6D5-DE8B-D887-4D71-114FFC45B5BE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6" creationId="{A1308D7B-042B-3783-2871-6C8C60B10126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7" creationId="{4426C33B-A272-58A7-A351-4F48C8DF9BC9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8" creationId="{7A425C9E-1B23-C9B3-DD7A-4F18A22AC6F5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19" creationId="{49D5524F-EB03-D0B0-DDD0-F492E73FC891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0" creationId="{F07D8D47-F02D-803F-5D6E-402C7D3F49CD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1" creationId="{2017DA66-4949-B198-143A-7F7B3BE6B1D9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2" creationId="{F511BBE5-873E-9EEF-1E53-3C7EA87C7442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3" creationId="{F0613B1B-BA1E-6BCC-09D9-9E1836A249D0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4" creationId="{09C64BED-785E-FE34-793F-0AEABBDA5FB3}"/>
          </ac:spMkLst>
        </pc:spChg>
        <pc:spChg chg="add mod">
          <ac:chgData name="Oscar Llorente Gonzalez" userId="e1d48c7f-7de1-49f5-ba88-07a54202ac7d" providerId="ADAL" clId="{F37813CC-6907-4F4D-B15A-1E0D0E480B20}" dt="2025-02-18T09:27:31.657" v="312" actId="1076"/>
          <ac:spMkLst>
            <pc:docMk/>
            <pc:sldMk cId="3265116380" sldId="2147479828"/>
            <ac:spMk id="125" creationId="{2A39BC79-3CB4-0266-D057-3C996D689327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7" creationId="{8A505F06-7566-36F8-9E65-28DC1E847FBC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28" creationId="{5FB138CE-84E7-930E-DA9B-E155A217A323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0" creationId="{BBB50851-DBCA-8EC0-D8EC-849C437F210B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1" creationId="{E4CFC258-D7EF-50BA-C682-260A6BB9C39D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2" creationId="{E63480B9-D268-9511-AE44-7F8F4925F435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3" creationId="{61BBD59A-9D9B-2940-E27D-480031B36812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4" creationId="{3CEB8C56-01A3-1F12-FEE2-9CCC49529055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5" creationId="{ED4809CC-9F66-259E-16CB-AED344EB801E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6" creationId="{3BBB8FBC-5EFC-818E-78CD-6932B44B6E94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7" creationId="{4CF05B16-8789-5919-9872-DBFE81FFCE49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38" creationId="{01F28693-64C7-DE77-4696-92AB7685EDD0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48" creationId="{A842594A-BF35-60F9-C858-66ADF655E19C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49" creationId="{1A10692B-0D75-A88A-00C9-5CD60B9ADED2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50" creationId="{F6D8B82D-F479-60BD-511C-9F5F2483B4D2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51" creationId="{1B04DE84-A820-EFEB-06B2-C564CC646023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53" creationId="{67DC0947-DE32-A6D9-3012-AFB6B87F19B7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54" creationId="{ACF905FC-833D-B93A-882B-8C14CCCEA94B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64" creationId="{77684E09-D120-6191-74F4-92E944998D32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65" creationId="{17CFB097-E280-23B7-EB9A-D88BF9520D1F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66" creationId="{F75A4CBE-A90D-955D-6A0F-8725757DAA45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67" creationId="{8AA5B9C7-9C4D-53F0-8FE6-E6C9C6219D38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68" creationId="{B900C149-967E-9493-ED4A-EFD7F7332441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69" creationId="{AC6625DD-315A-0763-F222-9A134F5530E9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70" creationId="{6BC28CD0-5C84-1500-4F67-AA21EFDDDA7C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71" creationId="{9ED9FAED-EB17-F330-2F59-91BBE70CF31D}"/>
          </ac:spMkLst>
        </pc:spChg>
        <pc:spChg chg="add mod">
          <ac:chgData name="Oscar Llorente Gonzalez" userId="e1d48c7f-7de1-49f5-ba88-07a54202ac7d" providerId="ADAL" clId="{F37813CC-6907-4F4D-B15A-1E0D0E480B20}" dt="2025-02-18T09:27:31.657" v="312" actId="1076"/>
          <ac:spMkLst>
            <pc:docMk/>
            <pc:sldMk cId="3265116380" sldId="2147479828"/>
            <ac:spMk id="172" creationId="{DAF54E5C-DFEB-3E2E-D8FD-DA8F2B394B54}"/>
          </ac:spMkLst>
        </pc:spChg>
        <pc:spChg chg="add mod">
          <ac:chgData name="Oscar Llorente Gonzalez" userId="e1d48c7f-7de1-49f5-ba88-07a54202ac7d" providerId="ADAL" clId="{F37813CC-6907-4F4D-B15A-1E0D0E480B20}" dt="2025-02-18T09:27:31.657" v="312" actId="1076"/>
          <ac:spMkLst>
            <pc:docMk/>
            <pc:sldMk cId="3265116380" sldId="2147479828"/>
            <ac:spMk id="173" creationId="{653FF6DE-B6A9-0A59-AC48-5C4FFB3E497F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86" creationId="{73BC3FE5-6CF3-DC37-F511-EB656FA0D124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87" creationId="{BE327FAF-1F46-4E68-31D9-45D8A99F2996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88" creationId="{0D963A25-3A13-E710-3EFE-43904C34B8DC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89" creationId="{04824B8C-6CB9-9E61-E5FB-B2FFF447884E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0" creationId="{8E557B28-9B64-1C60-C48E-7EBA82833C53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1" creationId="{80D6A1D9-D228-3234-F391-179C6CD62133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2" creationId="{3D526CA6-2763-3F09-13A2-3789096CA809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3" creationId="{C6B4CCCD-6125-7847-F5F6-8E62DDA20CDD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4" creationId="{123C086D-B0B1-7A91-88C7-8EDA5BF3B84E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5" creationId="{A9D7C595-41A8-9BBE-98D5-E51BCF85DE70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6" creationId="{60F7F3D7-ADFC-D6F5-6060-F62106BF7004}"/>
          </ac:spMkLst>
        </pc:spChg>
        <pc:spChg chg="mod">
          <ac:chgData name="Oscar Llorente Gonzalez" userId="e1d48c7f-7de1-49f5-ba88-07a54202ac7d" providerId="ADAL" clId="{F37813CC-6907-4F4D-B15A-1E0D0E480B20}" dt="2025-02-18T09:26:57.871" v="282"/>
          <ac:spMkLst>
            <pc:docMk/>
            <pc:sldMk cId="3265116380" sldId="2147479828"/>
            <ac:spMk id="197" creationId="{79AB250A-E7B5-2E2F-F356-011A295BEE2A}"/>
          </ac:spMkLst>
        </pc:spChg>
        <pc:spChg chg="add mod">
          <ac:chgData name="Oscar Llorente Gonzalez" userId="e1d48c7f-7de1-49f5-ba88-07a54202ac7d" providerId="ADAL" clId="{F37813CC-6907-4F4D-B15A-1E0D0E480B20}" dt="2025-02-18T09:27:31.657" v="312" actId="1076"/>
          <ac:spMkLst>
            <pc:docMk/>
            <pc:sldMk cId="3265116380" sldId="2147479828"/>
            <ac:spMk id="198" creationId="{D2F7C6D9-96AD-24F2-7812-412011511ADB}"/>
          </ac:spMkLst>
        </pc:spChg>
        <pc:spChg chg="add del mod">
          <ac:chgData name="Oscar Llorente Gonzalez" userId="e1d48c7f-7de1-49f5-ba88-07a54202ac7d" providerId="ADAL" clId="{F37813CC-6907-4F4D-B15A-1E0D0E480B20}" dt="2025-02-18T09:27:25.635" v="311" actId="478"/>
          <ac:spMkLst>
            <pc:docMk/>
            <pc:sldMk cId="3265116380" sldId="2147479828"/>
            <ac:spMk id="214" creationId="{27A5EBE4-7CE5-833F-A256-747F1300D7CB}"/>
          </ac:spMkLst>
        </pc:spChg>
        <pc:grpChg chg="add 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52" creationId="{B2790BAD-8AF8-AB85-1EEB-FE48AEC3A4B0}"/>
          </ac:grpSpMkLst>
        </pc:grpChg>
        <pc:grpChg chg="add 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56" creationId="{F7622C5B-91D9-7FE3-A9B2-C842E2F820EA}"/>
          </ac:grpSpMkLst>
        </pc:grpChg>
        <pc:grpChg chg="add 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62" creationId="{3775D2A8-1915-5822-3467-C14DADECE47D}"/>
          </ac:grpSpMkLst>
        </pc:grpChg>
        <pc:grpChg chg="add 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67" creationId="{EDD47DE5-D269-D00B-CAB7-70799716385D}"/>
          </ac:grpSpMkLst>
        </pc:grpChg>
        <pc:grpChg chg="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68" creationId="{002B54F8-C825-3782-874F-848B4CD06E67}"/>
          </ac:grpSpMkLst>
        </pc:grpChg>
        <pc:grpChg chg="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69" creationId="{CF02C8E9-4E8C-88F6-C926-AFC86AB5DD26}"/>
          </ac:grpSpMkLst>
        </pc:grpChg>
        <pc:grpChg chg="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70" creationId="{E6C005E6-5EE4-5032-84BC-DDFDE06A6A2E}"/>
          </ac:grpSpMkLst>
        </pc:grpChg>
        <pc:grpChg chg="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71" creationId="{D9C53BBF-6461-7FC6-2362-99E2044BE2D1}"/>
          </ac:grpSpMkLst>
        </pc:grpChg>
        <pc:grpChg chg="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72" creationId="{6020E710-F14D-85B2-8C00-9A4CB23DD07E}"/>
          </ac:grpSpMkLst>
        </pc:grpChg>
        <pc:grpChg chg="mod">
          <ac:chgData name="Oscar Llorente Gonzalez" userId="e1d48c7f-7de1-49f5-ba88-07a54202ac7d" providerId="ADAL" clId="{F37813CC-6907-4F4D-B15A-1E0D0E480B20}" dt="2025-02-18T09:26:41.201" v="280"/>
          <ac:grpSpMkLst>
            <pc:docMk/>
            <pc:sldMk cId="3265116380" sldId="2147479828"/>
            <ac:grpSpMk id="73" creationId="{34F2E38C-DCA5-A9E8-C5DE-9505D3A2D7AC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05" creationId="{8D9CE653-1957-B3B7-EA86-0D4BFE10EE7A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09" creationId="{A2A697B5-4915-801B-065B-5D71970E4ACD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14" creationId="{5B5C8BA1-93E5-31F8-B2D4-E7130FEDA6F8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26" creationId="{82E453CD-A8CC-E0C8-FEAB-E56980FC3EF0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29" creationId="{1F02E7E1-7CC0-EFBA-4117-FE4E8BC9F732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52" creationId="{C876C5E8-9B15-E8CB-553C-E8C9D5A4AE66}"/>
          </ac:grpSpMkLst>
        </pc:grpChg>
        <pc:grpChg chg="add mod">
          <ac:chgData name="Oscar Llorente Gonzalez" userId="e1d48c7f-7de1-49f5-ba88-07a54202ac7d" providerId="ADAL" clId="{F37813CC-6907-4F4D-B15A-1E0D0E480B20}" dt="2025-02-18T09:27:31.657" v="312" actId="1076"/>
          <ac:grpSpMkLst>
            <pc:docMk/>
            <pc:sldMk cId="3265116380" sldId="2147479828"/>
            <ac:grpSpMk id="174" creationId="{485AB684-0A93-A500-9956-8AB6C49D41D6}"/>
          </ac:grpSpMkLst>
        </pc:grpChg>
        <pc:grpChg chg="mod">
          <ac:chgData name="Oscar Llorente Gonzalez" userId="e1d48c7f-7de1-49f5-ba88-07a54202ac7d" providerId="ADAL" clId="{F37813CC-6907-4F4D-B15A-1E0D0E480B20}" dt="2025-02-18T09:26:57.871" v="282"/>
          <ac:grpSpMkLst>
            <pc:docMk/>
            <pc:sldMk cId="3265116380" sldId="2147479828"/>
            <ac:grpSpMk id="175" creationId="{DF51CCF2-150E-2AEE-C95B-688237E04A9C}"/>
          </ac:grpSpMkLst>
        </pc:grpChg>
        <pc:grpChg chg="mod">
          <ac:chgData name="Oscar Llorente Gonzalez" userId="e1d48c7f-7de1-49f5-ba88-07a54202ac7d" providerId="ADAL" clId="{F37813CC-6907-4F4D-B15A-1E0D0E480B20}" dt="2025-02-18T09:26:57.871" v="282"/>
          <ac:grpSpMkLst>
            <pc:docMk/>
            <pc:sldMk cId="3265116380" sldId="2147479828"/>
            <ac:grpSpMk id="176" creationId="{8F45015C-B099-EAC1-5585-8990BE175012}"/>
          </ac:grpSpMkLst>
        </pc:grpChg>
        <pc:grpChg chg="mod">
          <ac:chgData name="Oscar Llorente Gonzalez" userId="e1d48c7f-7de1-49f5-ba88-07a54202ac7d" providerId="ADAL" clId="{F37813CC-6907-4F4D-B15A-1E0D0E480B20}" dt="2025-02-18T09:26:57.871" v="282"/>
          <ac:grpSpMkLst>
            <pc:docMk/>
            <pc:sldMk cId="3265116380" sldId="2147479828"/>
            <ac:grpSpMk id="177" creationId="{F9D9E419-61F3-9140-531C-6255A5A94B7D}"/>
          </ac:grpSpMkLst>
        </pc:grpChg>
        <pc:grpChg chg="mod">
          <ac:chgData name="Oscar Llorente Gonzalez" userId="e1d48c7f-7de1-49f5-ba88-07a54202ac7d" providerId="ADAL" clId="{F37813CC-6907-4F4D-B15A-1E0D0E480B20}" dt="2025-02-18T09:26:57.871" v="282"/>
          <ac:grpSpMkLst>
            <pc:docMk/>
            <pc:sldMk cId="3265116380" sldId="2147479828"/>
            <ac:grpSpMk id="178" creationId="{421C96B6-0027-0D04-DC58-70CE961B22E2}"/>
          </ac:grpSpMkLst>
        </pc:grpChg>
        <pc:grpChg chg="mod">
          <ac:chgData name="Oscar Llorente Gonzalez" userId="e1d48c7f-7de1-49f5-ba88-07a54202ac7d" providerId="ADAL" clId="{F37813CC-6907-4F4D-B15A-1E0D0E480B20}" dt="2025-02-18T09:26:57.871" v="282"/>
          <ac:grpSpMkLst>
            <pc:docMk/>
            <pc:sldMk cId="3265116380" sldId="2147479828"/>
            <ac:grpSpMk id="179" creationId="{74E5CE87-F80D-B829-4E49-E3EC6997D1E0}"/>
          </ac:grpSpMkLst>
        </pc:grpChg>
        <pc:grpChg chg="mod">
          <ac:chgData name="Oscar Llorente Gonzalez" userId="e1d48c7f-7de1-49f5-ba88-07a54202ac7d" providerId="ADAL" clId="{F37813CC-6907-4F4D-B15A-1E0D0E480B20}" dt="2025-02-18T09:26:57.871" v="282"/>
          <ac:grpSpMkLst>
            <pc:docMk/>
            <pc:sldMk cId="3265116380" sldId="2147479828"/>
            <ac:grpSpMk id="180" creationId="{144085B4-2664-4894-45EC-6A1DFE014903}"/>
          </ac:grpSpMkLst>
        </pc:grpChg>
        <pc:picChg chg="add mod">
          <ac:chgData name="Oscar Llorente Gonzalez" userId="e1d48c7f-7de1-49f5-ba88-07a54202ac7d" providerId="ADAL" clId="{F37813CC-6907-4F4D-B15A-1E0D0E480B20}" dt="2025-02-18T09:25:06.098" v="245"/>
          <ac:picMkLst>
            <pc:docMk/>
            <pc:sldMk cId="3265116380" sldId="2147479828"/>
            <ac:picMk id="6" creationId="{3EC1A608-6A1C-E378-C240-A3C8248DAF6C}"/>
          </ac:picMkLst>
        </pc:picChg>
        <pc:picChg chg="add mod">
          <ac:chgData name="Oscar Llorente Gonzalez" userId="e1d48c7f-7de1-49f5-ba88-07a54202ac7d" providerId="ADAL" clId="{F37813CC-6907-4F4D-B15A-1E0D0E480B20}" dt="2025-02-18T09:25:06.098" v="245"/>
          <ac:picMkLst>
            <pc:docMk/>
            <pc:sldMk cId="3265116380" sldId="2147479828"/>
            <ac:picMk id="7" creationId="{4CA6B4F5-9874-D198-4A6B-40A404DEB87B}"/>
          </ac:picMkLst>
        </pc:picChg>
        <pc:picChg chg="add mod">
          <ac:chgData name="Oscar Llorente Gonzalez" userId="e1d48c7f-7de1-49f5-ba88-07a54202ac7d" providerId="ADAL" clId="{F37813CC-6907-4F4D-B15A-1E0D0E480B20}" dt="2025-02-18T09:25:06.098" v="245"/>
          <ac:picMkLst>
            <pc:docMk/>
            <pc:sldMk cId="3265116380" sldId="2147479828"/>
            <ac:picMk id="8" creationId="{9F878242-7B19-128A-A4C8-D28A151BC84F}"/>
          </ac:picMkLst>
        </pc:picChg>
        <pc:picChg chg="add mod">
          <ac:chgData name="Oscar Llorente Gonzalez" userId="e1d48c7f-7de1-49f5-ba88-07a54202ac7d" providerId="ADAL" clId="{F37813CC-6907-4F4D-B15A-1E0D0E480B20}" dt="2025-02-18T09:25:20.091" v="248" actId="14100"/>
          <ac:picMkLst>
            <pc:docMk/>
            <pc:sldMk cId="3265116380" sldId="2147479828"/>
            <ac:picMk id="21" creationId="{4D25FBD5-7766-79C4-8477-B9E1A4F50FFD}"/>
          </ac:picMkLst>
        </pc:picChg>
        <pc:picChg chg="add mod">
          <ac:chgData name="Oscar Llorente Gonzalez" userId="e1d48c7f-7de1-49f5-ba88-07a54202ac7d" providerId="ADAL" clId="{F37813CC-6907-4F4D-B15A-1E0D0E480B20}" dt="2025-02-18T09:25:20.091" v="248" actId="14100"/>
          <ac:picMkLst>
            <pc:docMk/>
            <pc:sldMk cId="3265116380" sldId="2147479828"/>
            <ac:picMk id="22" creationId="{94659EB6-3B11-4F65-65E1-A62E6BB3B30A}"/>
          </ac:picMkLst>
        </pc:picChg>
        <pc:picChg chg="add mod">
          <ac:chgData name="Oscar Llorente Gonzalez" userId="e1d48c7f-7de1-49f5-ba88-07a54202ac7d" providerId="ADAL" clId="{F37813CC-6907-4F4D-B15A-1E0D0E480B20}" dt="2025-02-18T09:25:20.091" v="248" actId="14100"/>
          <ac:picMkLst>
            <pc:docMk/>
            <pc:sldMk cId="3265116380" sldId="2147479828"/>
            <ac:picMk id="23" creationId="{F2DB6BFF-DB9E-F8B8-91B4-53F3B102C702}"/>
          </ac:picMkLst>
        </pc:picChg>
        <pc:picChg chg="add mod">
          <ac:chgData name="Oscar Llorente Gonzalez" userId="e1d48c7f-7de1-49f5-ba88-07a54202ac7d" providerId="ADAL" clId="{F37813CC-6907-4F4D-B15A-1E0D0E480B20}" dt="2025-02-18T09:25:26.010" v="249"/>
          <ac:picMkLst>
            <pc:docMk/>
            <pc:sldMk cId="3265116380" sldId="2147479828"/>
            <ac:picMk id="39" creationId="{470C8F47-57CB-1DA9-CDE3-3BA5C5576E97}"/>
          </ac:picMkLst>
        </pc:picChg>
        <pc:picChg chg="add mod">
          <ac:chgData name="Oscar Llorente Gonzalez" userId="e1d48c7f-7de1-49f5-ba88-07a54202ac7d" providerId="ADAL" clId="{F37813CC-6907-4F4D-B15A-1E0D0E480B20}" dt="2025-02-18T09:25:26.010" v="249"/>
          <ac:picMkLst>
            <pc:docMk/>
            <pc:sldMk cId="3265116380" sldId="2147479828"/>
            <ac:picMk id="40" creationId="{50C067D6-567F-6CB8-43A9-7FFE3FB80579}"/>
          </ac:picMkLst>
        </pc:picChg>
        <pc:picChg chg="add mod">
          <ac:chgData name="Oscar Llorente Gonzalez" userId="e1d48c7f-7de1-49f5-ba88-07a54202ac7d" providerId="ADAL" clId="{F37813CC-6907-4F4D-B15A-1E0D0E480B20}" dt="2025-02-18T09:25:26.010" v="249"/>
          <ac:picMkLst>
            <pc:docMk/>
            <pc:sldMk cId="3265116380" sldId="2147479828"/>
            <ac:picMk id="41" creationId="{34A5F2D9-E1AA-35E3-FFC1-26B02D3FB208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2" creationId="{CAE1C708-9635-7F30-01E1-040090170E20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3" creationId="{40DCED04-CD7A-E40E-DB60-CFA5D8C37CB9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4" creationId="{DCA96939-0649-2048-AEB6-9CB120207BB0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5" creationId="{0F7AC0B0-37F2-FA35-B9F4-97D78E9F0177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6" creationId="{C14CF9A6-4D21-84BA-4552-A103723772A2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7" creationId="{3E305E77-2C0E-0191-65DB-61A151A38C12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8" creationId="{7763B61E-5269-004F-56D5-5F223C1CAA9F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99" creationId="{8237E068-B0E4-27A5-45BE-B7DFF14C70CD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100" creationId="{0548CEDD-E793-A028-8C33-D6C1F68FE5C9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101" creationId="{4C5C4E7D-2C82-B9EC-17E9-02E69CFD02D6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102" creationId="{A287D887-FDBE-EEB8-DC07-F6DB6946CD56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103" creationId="{131B115D-6443-337E-5B56-C1A8168382E8}"/>
          </ac:picMkLst>
        </pc:picChg>
        <pc:picChg chg="add mod">
          <ac:chgData name="Oscar Llorente Gonzalez" userId="e1d48c7f-7de1-49f5-ba88-07a54202ac7d" providerId="ADAL" clId="{F37813CC-6907-4F4D-B15A-1E0D0E480B20}" dt="2025-02-18T09:26:41.201" v="280"/>
          <ac:picMkLst>
            <pc:docMk/>
            <pc:sldMk cId="3265116380" sldId="2147479828"/>
            <ac:picMk id="104" creationId="{1D61589B-5AB3-5287-34F3-2C1DF6A7D2FF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199" creationId="{FD94A006-C113-00CB-A06E-713F07F0FECC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0" creationId="{DBAF1938-62C4-4B65-3B00-993FEF8520B7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1" creationId="{223B5890-2802-25E3-49F2-4523CB5722A2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2" creationId="{DE040A10-56EA-AE98-67A7-0EBF0A8513F9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3" creationId="{300D6D3B-7DAE-69BA-9A1F-D61A15D7781E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4" creationId="{E560122C-A4FE-0937-5910-854A0A45CFB0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5" creationId="{8ED86644-6F2B-5C7E-DE3C-5BCDBC2BED75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6" creationId="{41B20F42-B367-81D4-1685-38F6C94FD6A2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7" creationId="{6B706FAB-2896-6F71-3A4B-A5AA6E831C1F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8" creationId="{D473F1BD-AB12-F03E-5AD4-9134F843730A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09" creationId="{054AD2E1-E4F4-0949-B9F6-7234D04167AA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10" creationId="{58F2B6D1-CCEA-E45C-C825-309448D639CF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11" creationId="{97C0505F-8710-1C1C-DF71-C211E2813BA4}"/>
          </ac:picMkLst>
        </pc:picChg>
        <pc:picChg chg="add mod">
          <ac:chgData name="Oscar Llorente Gonzalez" userId="e1d48c7f-7de1-49f5-ba88-07a54202ac7d" providerId="ADAL" clId="{F37813CC-6907-4F4D-B15A-1E0D0E480B20}" dt="2025-02-18T09:27:31.657" v="312" actId="1076"/>
          <ac:picMkLst>
            <pc:docMk/>
            <pc:sldMk cId="3265116380" sldId="2147479828"/>
            <ac:picMk id="212" creationId="{373250C7-4EC2-C5B1-836F-91700359C65A}"/>
          </ac:picMkLst>
        </pc:picChg>
        <pc:cxnChg chg="add mod">
          <ac:chgData name="Oscar Llorente Gonzalez" userId="e1d48c7f-7de1-49f5-ba88-07a54202ac7d" providerId="ADAL" clId="{F37813CC-6907-4F4D-B15A-1E0D0E480B20}" dt="2025-02-18T09:25:06.098" v="245"/>
          <ac:cxnSpMkLst>
            <pc:docMk/>
            <pc:sldMk cId="3265116380" sldId="2147479828"/>
            <ac:cxnSpMk id="9" creationId="{C419E144-D00F-D365-17D8-98BE178949F4}"/>
          </ac:cxnSpMkLst>
        </pc:cxnChg>
        <pc:cxnChg chg="add mod">
          <ac:chgData name="Oscar Llorente Gonzalez" userId="e1d48c7f-7de1-49f5-ba88-07a54202ac7d" providerId="ADAL" clId="{F37813CC-6907-4F4D-B15A-1E0D0E480B20}" dt="2025-02-18T09:25:06.098" v="245"/>
          <ac:cxnSpMkLst>
            <pc:docMk/>
            <pc:sldMk cId="3265116380" sldId="2147479828"/>
            <ac:cxnSpMk id="10" creationId="{470D43FA-2DF1-BA0F-35E7-3D49FBC9B686}"/>
          </ac:cxnSpMkLst>
        </pc:cxnChg>
        <pc:cxnChg chg="add mod">
          <ac:chgData name="Oscar Llorente Gonzalez" userId="e1d48c7f-7de1-49f5-ba88-07a54202ac7d" providerId="ADAL" clId="{F37813CC-6907-4F4D-B15A-1E0D0E480B20}" dt="2025-02-18T09:25:06.098" v="245"/>
          <ac:cxnSpMkLst>
            <pc:docMk/>
            <pc:sldMk cId="3265116380" sldId="2147479828"/>
            <ac:cxnSpMk id="11" creationId="{14698334-F100-601D-80FB-75DA12CA11C1}"/>
          </ac:cxnSpMkLst>
        </pc:cxnChg>
        <pc:cxnChg chg="add mod">
          <ac:chgData name="Oscar Llorente Gonzalez" userId="e1d48c7f-7de1-49f5-ba88-07a54202ac7d" providerId="ADAL" clId="{F37813CC-6907-4F4D-B15A-1E0D0E480B20}" dt="2025-02-18T09:25:06.098" v="245"/>
          <ac:cxnSpMkLst>
            <pc:docMk/>
            <pc:sldMk cId="3265116380" sldId="2147479828"/>
            <ac:cxnSpMk id="12" creationId="{26010D61-3584-DAAD-DEBC-45F9B78B0B4C}"/>
          </ac:cxnSpMkLst>
        </pc:cxnChg>
        <pc:cxnChg chg="add mod">
          <ac:chgData name="Oscar Llorente Gonzalez" userId="e1d48c7f-7de1-49f5-ba88-07a54202ac7d" providerId="ADAL" clId="{F37813CC-6907-4F4D-B15A-1E0D0E480B20}" dt="2025-02-18T09:25:06.098" v="245"/>
          <ac:cxnSpMkLst>
            <pc:docMk/>
            <pc:sldMk cId="3265116380" sldId="2147479828"/>
            <ac:cxnSpMk id="16" creationId="{2F24B16D-D2D2-F2A2-965B-55DC2ECB52E5}"/>
          </ac:cxnSpMkLst>
        </pc:cxnChg>
        <pc:cxnChg chg="add mod">
          <ac:chgData name="Oscar Llorente Gonzalez" userId="e1d48c7f-7de1-49f5-ba88-07a54202ac7d" providerId="ADAL" clId="{F37813CC-6907-4F4D-B15A-1E0D0E480B20}" dt="2025-02-18T09:25:20.091" v="248" actId="14100"/>
          <ac:cxnSpMkLst>
            <pc:docMk/>
            <pc:sldMk cId="3265116380" sldId="2147479828"/>
            <ac:cxnSpMk id="24" creationId="{8DA535ED-AAD0-84B3-BD1D-6EC9C2318860}"/>
          </ac:cxnSpMkLst>
        </pc:cxnChg>
        <pc:cxnChg chg="add mod">
          <ac:chgData name="Oscar Llorente Gonzalez" userId="e1d48c7f-7de1-49f5-ba88-07a54202ac7d" providerId="ADAL" clId="{F37813CC-6907-4F4D-B15A-1E0D0E480B20}" dt="2025-02-18T09:25:20.091" v="248" actId="14100"/>
          <ac:cxnSpMkLst>
            <pc:docMk/>
            <pc:sldMk cId="3265116380" sldId="2147479828"/>
            <ac:cxnSpMk id="25" creationId="{113BDDEB-6281-BF08-5E6A-7F40C0A3C086}"/>
          </ac:cxnSpMkLst>
        </pc:cxnChg>
        <pc:cxnChg chg="add mod">
          <ac:chgData name="Oscar Llorente Gonzalez" userId="e1d48c7f-7de1-49f5-ba88-07a54202ac7d" providerId="ADAL" clId="{F37813CC-6907-4F4D-B15A-1E0D0E480B20}" dt="2025-02-18T09:25:20.091" v="248" actId="14100"/>
          <ac:cxnSpMkLst>
            <pc:docMk/>
            <pc:sldMk cId="3265116380" sldId="2147479828"/>
            <ac:cxnSpMk id="26" creationId="{EC0EF693-38DF-1CA3-BD34-51CA2CC908B1}"/>
          </ac:cxnSpMkLst>
        </pc:cxnChg>
        <pc:cxnChg chg="add mod">
          <ac:chgData name="Oscar Llorente Gonzalez" userId="e1d48c7f-7de1-49f5-ba88-07a54202ac7d" providerId="ADAL" clId="{F37813CC-6907-4F4D-B15A-1E0D0E480B20}" dt="2025-02-18T09:25:20.091" v="248" actId="14100"/>
          <ac:cxnSpMkLst>
            <pc:docMk/>
            <pc:sldMk cId="3265116380" sldId="2147479828"/>
            <ac:cxnSpMk id="27" creationId="{F82F7161-E71A-EFC2-5D1C-5FE79E6E501E}"/>
          </ac:cxnSpMkLst>
        </pc:cxnChg>
        <pc:cxnChg chg="add mod">
          <ac:chgData name="Oscar Llorente Gonzalez" userId="e1d48c7f-7de1-49f5-ba88-07a54202ac7d" providerId="ADAL" clId="{F37813CC-6907-4F4D-B15A-1E0D0E480B20}" dt="2025-02-18T09:25:20.091" v="248" actId="14100"/>
          <ac:cxnSpMkLst>
            <pc:docMk/>
            <pc:sldMk cId="3265116380" sldId="2147479828"/>
            <ac:cxnSpMk id="31" creationId="{A1CFD687-E432-B569-71CD-602649CF5975}"/>
          </ac:cxnSpMkLst>
        </pc:cxnChg>
        <pc:cxnChg chg="add mod">
          <ac:chgData name="Oscar Llorente Gonzalez" userId="e1d48c7f-7de1-49f5-ba88-07a54202ac7d" providerId="ADAL" clId="{F37813CC-6907-4F4D-B15A-1E0D0E480B20}" dt="2025-02-18T09:25:26.010" v="249"/>
          <ac:cxnSpMkLst>
            <pc:docMk/>
            <pc:sldMk cId="3265116380" sldId="2147479828"/>
            <ac:cxnSpMk id="42" creationId="{719102A9-88FE-102E-EF00-BEBA8F4FAD19}"/>
          </ac:cxnSpMkLst>
        </pc:cxnChg>
        <pc:cxnChg chg="add mod">
          <ac:chgData name="Oscar Llorente Gonzalez" userId="e1d48c7f-7de1-49f5-ba88-07a54202ac7d" providerId="ADAL" clId="{F37813CC-6907-4F4D-B15A-1E0D0E480B20}" dt="2025-02-18T09:25:26.010" v="249"/>
          <ac:cxnSpMkLst>
            <pc:docMk/>
            <pc:sldMk cId="3265116380" sldId="2147479828"/>
            <ac:cxnSpMk id="43" creationId="{DDB32596-9B5D-767E-3A43-69F633476375}"/>
          </ac:cxnSpMkLst>
        </pc:cxnChg>
        <pc:cxnChg chg="add mod">
          <ac:chgData name="Oscar Llorente Gonzalez" userId="e1d48c7f-7de1-49f5-ba88-07a54202ac7d" providerId="ADAL" clId="{F37813CC-6907-4F4D-B15A-1E0D0E480B20}" dt="2025-02-18T09:25:26.010" v="249"/>
          <ac:cxnSpMkLst>
            <pc:docMk/>
            <pc:sldMk cId="3265116380" sldId="2147479828"/>
            <ac:cxnSpMk id="44" creationId="{174AA0EA-8A01-4819-9E67-A7830E9DE124}"/>
          </ac:cxnSpMkLst>
        </pc:cxnChg>
        <pc:cxnChg chg="add mod">
          <ac:chgData name="Oscar Llorente Gonzalez" userId="e1d48c7f-7de1-49f5-ba88-07a54202ac7d" providerId="ADAL" clId="{F37813CC-6907-4F4D-B15A-1E0D0E480B20}" dt="2025-02-18T09:25:26.010" v="249"/>
          <ac:cxnSpMkLst>
            <pc:docMk/>
            <pc:sldMk cId="3265116380" sldId="2147479828"/>
            <ac:cxnSpMk id="45" creationId="{23027941-6DAF-C254-FF23-E0FCB6070E05}"/>
          </ac:cxnSpMkLst>
        </pc:cxnChg>
        <pc:cxnChg chg="add mod">
          <ac:chgData name="Oscar Llorente Gonzalez" userId="e1d48c7f-7de1-49f5-ba88-07a54202ac7d" providerId="ADAL" clId="{F37813CC-6907-4F4D-B15A-1E0D0E480B20}" dt="2025-02-18T09:25:26.010" v="249"/>
          <ac:cxnSpMkLst>
            <pc:docMk/>
            <pc:sldMk cId="3265116380" sldId="2147479828"/>
            <ac:cxnSpMk id="49" creationId="{2D8D0BE5-4BCC-BE85-6799-F0AFAADD4BCC}"/>
          </ac:cxnSpMkLst>
        </pc:cxnChg>
        <pc:cxnChg chg="mod">
          <ac:chgData name="Oscar Llorente Gonzalez" userId="e1d48c7f-7de1-49f5-ba88-07a54202ac7d" providerId="ADAL" clId="{F37813CC-6907-4F4D-B15A-1E0D0E480B20}" dt="2025-02-18T09:26:41.201" v="280"/>
          <ac:cxnSpMkLst>
            <pc:docMk/>
            <pc:sldMk cId="3265116380" sldId="2147479828"/>
            <ac:cxnSpMk id="74" creationId="{91362213-567E-02A8-E5F9-8DC08A84776C}"/>
          </ac:cxnSpMkLst>
        </pc:cxnChg>
        <pc:cxnChg chg="mod">
          <ac:chgData name="Oscar Llorente Gonzalez" userId="e1d48c7f-7de1-49f5-ba88-07a54202ac7d" providerId="ADAL" clId="{F37813CC-6907-4F4D-B15A-1E0D0E480B20}" dt="2025-02-18T09:26:41.201" v="280"/>
          <ac:cxnSpMkLst>
            <pc:docMk/>
            <pc:sldMk cId="3265116380" sldId="2147479828"/>
            <ac:cxnSpMk id="75" creationId="{A11462BC-78B0-3570-7409-5EA9B384A629}"/>
          </ac:cxnSpMkLst>
        </pc:cxnChg>
        <pc:cxnChg chg="mod">
          <ac:chgData name="Oscar Llorente Gonzalez" userId="e1d48c7f-7de1-49f5-ba88-07a54202ac7d" providerId="ADAL" clId="{F37813CC-6907-4F4D-B15A-1E0D0E480B20}" dt="2025-02-18T09:26:41.201" v="280"/>
          <ac:cxnSpMkLst>
            <pc:docMk/>
            <pc:sldMk cId="3265116380" sldId="2147479828"/>
            <ac:cxnSpMk id="76" creationId="{30A38B76-6BDC-A222-A409-3E86A7AC1184}"/>
          </ac:cxnSpMkLst>
        </pc:cxnChg>
        <pc:cxnChg chg="mod">
          <ac:chgData name="Oscar Llorente Gonzalez" userId="e1d48c7f-7de1-49f5-ba88-07a54202ac7d" providerId="ADAL" clId="{F37813CC-6907-4F4D-B15A-1E0D0E480B20}" dt="2025-02-18T09:26:41.201" v="280"/>
          <ac:cxnSpMkLst>
            <pc:docMk/>
            <pc:sldMk cId="3265116380" sldId="2147479828"/>
            <ac:cxnSpMk id="77" creationId="{3DAE09EB-1314-5AD5-13C5-12C98D8A6A2D}"/>
          </ac:cxnSpMkLst>
        </pc:cxnChg>
        <pc:cxnChg chg="mod">
          <ac:chgData name="Oscar Llorente Gonzalez" userId="e1d48c7f-7de1-49f5-ba88-07a54202ac7d" providerId="ADAL" clId="{F37813CC-6907-4F4D-B15A-1E0D0E480B20}" dt="2025-02-18T09:26:41.201" v="280"/>
          <ac:cxnSpMkLst>
            <pc:docMk/>
            <pc:sldMk cId="3265116380" sldId="2147479828"/>
            <ac:cxnSpMk id="78" creationId="{E2DCBC23-3A41-274F-ED79-F1F7FF0E706C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39" creationId="{B0EDF55F-08C9-1EA8-22CD-7DDC1621994D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0" creationId="{531BFDBF-42E7-2D2B-BEF9-A9BE1B112F82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1" creationId="{04483F21-5D6B-FD30-1E7C-52F8E3042E8D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2" creationId="{9FE74193-D4FD-7722-3DD7-6FB1C7F15B5C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3" creationId="{6D477C07-F542-18DA-9568-C23804F78F40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4" creationId="{11CA6AA3-02A6-A172-7B1A-CBD1B9D54D08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5" creationId="{5019AD16-ADB2-1810-2ACE-A7C1FFC23F00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6" creationId="{2DE7BC73-2B3F-935D-A4F1-DC0E2D4D13D3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47" creationId="{FBDE7421-C6D3-EDA2-E0F1-3FDAC8F26906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55" creationId="{5BD03632-FCD5-6C3F-9C6F-97EECECD7849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56" creationId="{B9CF6782-141F-5427-F193-8A29B6E9C20E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57" creationId="{0023880A-AE0F-4F65-BCD1-958B41BBD899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58" creationId="{999272FD-DA2E-B8D8-0842-B80130A46726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59" creationId="{3220405C-E251-88DB-6767-51740B5FE1D4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60" creationId="{424D02DA-A5A9-5865-4C25-769F7C61F605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61" creationId="{A8766200-8A7B-3230-014A-87380301124D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62" creationId="{2B152E68-044D-6F66-0B68-049397F14A2C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63" creationId="{AA3CBA03-8C30-F0AE-AA34-32C46146B273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81" creationId="{93CE82E2-B12B-DEEC-D914-CBF778650FF6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82" creationId="{F7A9A6BE-DDF6-A395-3CF3-06D5FCA42770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83" creationId="{2FBE0031-24DA-E553-21AD-2386C2D77974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84" creationId="{3C911883-8EAB-8994-914B-722CACE17D39}"/>
          </ac:cxnSpMkLst>
        </pc:cxnChg>
        <pc:cxnChg chg="mod">
          <ac:chgData name="Oscar Llorente Gonzalez" userId="e1d48c7f-7de1-49f5-ba88-07a54202ac7d" providerId="ADAL" clId="{F37813CC-6907-4F4D-B15A-1E0D0E480B20}" dt="2025-02-18T09:26:57.871" v="282"/>
          <ac:cxnSpMkLst>
            <pc:docMk/>
            <pc:sldMk cId="3265116380" sldId="2147479828"/>
            <ac:cxnSpMk id="185" creationId="{9ECB83AF-F0F4-1207-8B9F-E6336606751B}"/>
          </ac:cxnSpMkLst>
        </pc:cxnChg>
      </pc:sldChg>
      <pc:sldChg chg="new del">
        <pc:chgData name="Oscar Llorente Gonzalez" userId="e1d48c7f-7de1-49f5-ba88-07a54202ac7d" providerId="ADAL" clId="{F37813CC-6907-4F4D-B15A-1E0D0E480B20}" dt="2025-02-18T09:26:17.371" v="277" actId="47"/>
        <pc:sldMkLst>
          <pc:docMk/>
          <pc:sldMk cId="1954524225" sldId="2147479829"/>
        </pc:sldMkLst>
      </pc:sldChg>
      <pc:sldChg chg="addSp delSp modSp new mod ord">
        <pc:chgData name="Oscar Llorente Gonzalez" userId="e1d48c7f-7de1-49f5-ba88-07a54202ac7d" providerId="ADAL" clId="{F37813CC-6907-4F4D-B15A-1E0D0E480B20}" dt="2025-02-18T15:54:29.507" v="623" actId="790"/>
        <pc:sldMkLst>
          <pc:docMk/>
          <pc:sldMk cId="2735342000" sldId="2147479830"/>
        </pc:sldMkLst>
        <pc:spChg chg="mod">
          <ac:chgData name="Oscar Llorente Gonzalez" userId="e1d48c7f-7de1-49f5-ba88-07a54202ac7d" providerId="ADAL" clId="{F37813CC-6907-4F4D-B15A-1E0D0E480B20}" dt="2025-02-18T15:54:29.507" v="623" actId="790"/>
          <ac:spMkLst>
            <pc:docMk/>
            <pc:sldMk cId="2735342000" sldId="2147479830"/>
            <ac:spMk id="2" creationId="{774A1044-8DD4-0C15-41F1-45A0C62C348F}"/>
          </ac:spMkLst>
        </pc:spChg>
        <pc:spChg chg="del">
          <ac:chgData name="Oscar Llorente Gonzalez" userId="e1d48c7f-7de1-49f5-ba88-07a54202ac7d" providerId="ADAL" clId="{F37813CC-6907-4F4D-B15A-1E0D0E480B20}" dt="2025-02-18T09:26:02.444" v="253" actId="478"/>
          <ac:spMkLst>
            <pc:docMk/>
            <pc:sldMk cId="2735342000" sldId="2147479830"/>
            <ac:spMk id="3" creationId="{CB6271DA-F4C1-AD7E-BEAA-8E8DD3762109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4" creationId="{27B4141A-4340-06AE-59F6-2C5DA4E3387D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5" creationId="{A71A64CE-FD26-9F2B-4473-8425A6C81311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13" creationId="{CD3157F3-BDCC-0F0D-4BA6-7C1EEDFE6BEF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14" creationId="{347DBAA0-A421-7CB2-7DC0-5B783D05F46D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15" creationId="{E0C9C55C-2A39-D9FD-A61C-12B00FBFFAD2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17" creationId="{B2F8A8A5-0DD6-E756-F662-C006213FD601}"/>
          </ac:spMkLst>
        </pc:spChg>
        <pc:spChg chg="add mod">
          <ac:chgData name="Oscar Llorente Gonzalez" userId="e1d48c7f-7de1-49f5-ba88-07a54202ac7d" providerId="ADAL" clId="{F37813CC-6907-4F4D-B15A-1E0D0E480B20}" dt="2025-02-18T09:25:59.604" v="252"/>
          <ac:spMkLst>
            <pc:docMk/>
            <pc:sldMk cId="2735342000" sldId="2147479830"/>
            <ac:spMk id="18" creationId="{1E31F9C9-11A4-2776-5DA9-C5EFB7F611DE}"/>
          </ac:spMkLst>
        </pc:spChg>
        <pc:picChg chg="add mod">
          <ac:chgData name="Oscar Llorente Gonzalez" userId="e1d48c7f-7de1-49f5-ba88-07a54202ac7d" providerId="ADAL" clId="{F37813CC-6907-4F4D-B15A-1E0D0E480B20}" dt="2025-02-18T09:25:59.604" v="252"/>
          <ac:picMkLst>
            <pc:docMk/>
            <pc:sldMk cId="2735342000" sldId="2147479830"/>
            <ac:picMk id="6" creationId="{2FB4DB81-6480-1962-8706-09DA36AA4A46}"/>
          </ac:picMkLst>
        </pc:picChg>
        <pc:picChg chg="add mod">
          <ac:chgData name="Oscar Llorente Gonzalez" userId="e1d48c7f-7de1-49f5-ba88-07a54202ac7d" providerId="ADAL" clId="{F37813CC-6907-4F4D-B15A-1E0D0E480B20}" dt="2025-02-18T09:25:59.604" v="252"/>
          <ac:picMkLst>
            <pc:docMk/>
            <pc:sldMk cId="2735342000" sldId="2147479830"/>
            <ac:picMk id="7" creationId="{57FDDF4A-7456-1B09-0863-4D9F3E85D08B}"/>
          </ac:picMkLst>
        </pc:picChg>
        <pc:picChg chg="add mod">
          <ac:chgData name="Oscar Llorente Gonzalez" userId="e1d48c7f-7de1-49f5-ba88-07a54202ac7d" providerId="ADAL" clId="{F37813CC-6907-4F4D-B15A-1E0D0E480B20}" dt="2025-02-18T09:25:59.604" v="252"/>
          <ac:picMkLst>
            <pc:docMk/>
            <pc:sldMk cId="2735342000" sldId="2147479830"/>
            <ac:picMk id="8" creationId="{B72CF577-4C69-8091-0B65-904D51FCC0C2}"/>
          </ac:picMkLst>
        </pc:picChg>
        <pc:cxnChg chg="add mod">
          <ac:chgData name="Oscar Llorente Gonzalez" userId="e1d48c7f-7de1-49f5-ba88-07a54202ac7d" providerId="ADAL" clId="{F37813CC-6907-4F4D-B15A-1E0D0E480B20}" dt="2025-02-18T09:25:59.604" v="252"/>
          <ac:cxnSpMkLst>
            <pc:docMk/>
            <pc:sldMk cId="2735342000" sldId="2147479830"/>
            <ac:cxnSpMk id="9" creationId="{DB52D09B-4BD3-9A3B-D4AD-2F749936E594}"/>
          </ac:cxnSpMkLst>
        </pc:cxnChg>
        <pc:cxnChg chg="add mod">
          <ac:chgData name="Oscar Llorente Gonzalez" userId="e1d48c7f-7de1-49f5-ba88-07a54202ac7d" providerId="ADAL" clId="{F37813CC-6907-4F4D-B15A-1E0D0E480B20}" dt="2025-02-18T09:25:59.604" v="252"/>
          <ac:cxnSpMkLst>
            <pc:docMk/>
            <pc:sldMk cId="2735342000" sldId="2147479830"/>
            <ac:cxnSpMk id="10" creationId="{20409417-9041-758A-589D-F85D2BAC82B8}"/>
          </ac:cxnSpMkLst>
        </pc:cxnChg>
        <pc:cxnChg chg="add mod">
          <ac:chgData name="Oscar Llorente Gonzalez" userId="e1d48c7f-7de1-49f5-ba88-07a54202ac7d" providerId="ADAL" clId="{F37813CC-6907-4F4D-B15A-1E0D0E480B20}" dt="2025-02-18T09:25:59.604" v="252"/>
          <ac:cxnSpMkLst>
            <pc:docMk/>
            <pc:sldMk cId="2735342000" sldId="2147479830"/>
            <ac:cxnSpMk id="11" creationId="{E8B12B34-D3B9-F09A-8523-32E023D645D3}"/>
          </ac:cxnSpMkLst>
        </pc:cxnChg>
        <pc:cxnChg chg="add mod">
          <ac:chgData name="Oscar Llorente Gonzalez" userId="e1d48c7f-7de1-49f5-ba88-07a54202ac7d" providerId="ADAL" clId="{F37813CC-6907-4F4D-B15A-1E0D0E480B20}" dt="2025-02-18T09:25:59.604" v="252"/>
          <ac:cxnSpMkLst>
            <pc:docMk/>
            <pc:sldMk cId="2735342000" sldId="2147479830"/>
            <ac:cxnSpMk id="12" creationId="{A9C960F9-B281-AF4B-2762-1C9F76576561}"/>
          </ac:cxnSpMkLst>
        </pc:cxnChg>
        <pc:cxnChg chg="add mod">
          <ac:chgData name="Oscar Llorente Gonzalez" userId="e1d48c7f-7de1-49f5-ba88-07a54202ac7d" providerId="ADAL" clId="{F37813CC-6907-4F4D-B15A-1E0D0E480B20}" dt="2025-02-18T09:25:59.604" v="252"/>
          <ac:cxnSpMkLst>
            <pc:docMk/>
            <pc:sldMk cId="2735342000" sldId="2147479830"/>
            <ac:cxnSpMk id="16" creationId="{3F269CD2-03C4-4F3C-4A85-F8DEA0926203}"/>
          </ac:cxnSpMkLst>
        </pc:cxnChg>
      </pc:sldChg>
      <pc:sldChg chg="addSp delSp modSp new mod">
        <pc:chgData name="Oscar Llorente Gonzalez" userId="e1d48c7f-7de1-49f5-ba88-07a54202ac7d" providerId="ADAL" clId="{F37813CC-6907-4F4D-B15A-1E0D0E480B20}" dt="2025-02-19T22:05:16.722" v="749" actId="20577"/>
        <pc:sldMkLst>
          <pc:docMk/>
          <pc:sldMk cId="308179650" sldId="2147479831"/>
        </pc:sldMkLst>
        <pc:spChg chg="mod">
          <ac:chgData name="Oscar Llorente Gonzalez" userId="e1d48c7f-7de1-49f5-ba88-07a54202ac7d" providerId="ADAL" clId="{F37813CC-6907-4F4D-B15A-1E0D0E480B20}" dt="2025-02-19T22:05:16.722" v="749" actId="20577"/>
          <ac:spMkLst>
            <pc:docMk/>
            <pc:sldMk cId="308179650" sldId="2147479831"/>
            <ac:spMk id="2" creationId="{DBC51465-6783-8E33-CE0E-0C42EDAF6CCE}"/>
          </ac:spMkLst>
        </pc:spChg>
        <pc:spChg chg="del">
          <ac:chgData name="Oscar Llorente Gonzalez" userId="e1d48c7f-7de1-49f5-ba88-07a54202ac7d" providerId="ADAL" clId="{F37813CC-6907-4F4D-B15A-1E0D0E480B20}" dt="2025-02-18T09:27:56.028" v="318" actId="478"/>
          <ac:spMkLst>
            <pc:docMk/>
            <pc:sldMk cId="308179650" sldId="2147479831"/>
            <ac:spMk id="3" creationId="{47353F21-E565-768E-4C6F-5C07931F32C2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4" creationId="{DDD718E0-FB4C-3CC6-D30D-FFC0D30190CB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5" creationId="{2F2C02B2-56A8-ECBF-B444-892276469C24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6" creationId="{EB22DB6F-6E27-673E-5295-75DF53FD35E4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7" creationId="{E221FCFA-60AE-3FC1-34CF-028FDA700FB2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8" creationId="{294A3297-A565-7CD1-DE89-66F416B94630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9" creationId="{0C12E398-5448-5535-AF94-09E471FAB46A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10" creationId="{CEC1585E-E821-9546-DED8-60A28E30CAB2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11" creationId="{97CE6102-8077-B86A-46DA-5C96FC747FE5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12" creationId="{520A189C-24A5-CBB3-085B-62AF66A262AF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13" creationId="{836154C8-88A4-4C45-8269-8068D02E6720}"/>
          </ac:spMkLst>
        </pc:spChg>
        <pc:spChg chg="add mod">
          <ac:chgData name="Oscar Llorente Gonzalez" userId="e1d48c7f-7de1-49f5-ba88-07a54202ac7d" providerId="ADAL" clId="{F37813CC-6907-4F4D-B15A-1E0D0E480B20}" dt="2025-02-18T09:28:00.266" v="320" actId="1076"/>
          <ac:spMkLst>
            <pc:docMk/>
            <pc:sldMk cId="308179650" sldId="2147479831"/>
            <ac:spMk id="14" creationId="{E13678FD-3A1E-9953-803E-1D76269342D3}"/>
          </ac:spMkLst>
        </pc:spChg>
        <pc:spChg chg="add mod">
          <ac:chgData name="Oscar Llorente Gonzalez" userId="e1d48c7f-7de1-49f5-ba88-07a54202ac7d" providerId="ADAL" clId="{F37813CC-6907-4F4D-B15A-1E0D0E480B20}" dt="2025-02-18T09:28:44.213" v="325" actId="1076"/>
          <ac:spMkLst>
            <pc:docMk/>
            <pc:sldMk cId="308179650" sldId="2147479831"/>
            <ac:spMk id="33" creationId="{3D6394E2-4524-C32A-2BEA-658D5C7B7490}"/>
          </ac:spMkLst>
        </pc:spChg>
        <pc:spChg chg="add mod">
          <ac:chgData name="Oscar Llorente Gonzalez" userId="e1d48c7f-7de1-49f5-ba88-07a54202ac7d" providerId="ADAL" clId="{F37813CC-6907-4F4D-B15A-1E0D0E480B20}" dt="2025-02-18T09:28:14.123" v="321" actId="2711"/>
          <ac:spMkLst>
            <pc:docMk/>
            <pc:sldMk cId="308179650" sldId="2147479831"/>
            <ac:spMk id="35" creationId="{E6CC31D3-DBB2-15BC-6E17-C29154E2270A}"/>
          </ac:spMkLst>
        </pc:spChg>
        <pc:spChg chg="add mod">
          <ac:chgData name="Oscar Llorente Gonzalez" userId="e1d48c7f-7de1-49f5-ba88-07a54202ac7d" providerId="ADAL" clId="{F37813CC-6907-4F4D-B15A-1E0D0E480B20}" dt="2025-02-18T09:28:14.123" v="321" actId="2711"/>
          <ac:spMkLst>
            <pc:docMk/>
            <pc:sldMk cId="308179650" sldId="2147479831"/>
            <ac:spMk id="36" creationId="{CD5DB5FE-FA14-571E-D1C1-0FFB4D0B3F9A}"/>
          </ac:spMkLst>
        </pc:sp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15" creationId="{B70DB884-C4C6-F719-52E0-AE0F96D41FFA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16" creationId="{68642E3D-1FAA-6269-4AB5-C01ACE03E685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17" creationId="{FE233DF1-BE00-9D50-4B73-902FC433E36E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18" creationId="{2C510F1A-FF3A-9274-3FB2-D96012662BD6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19" creationId="{5A82FF9A-F804-E39B-1F89-EE5C475ADABE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0" creationId="{6E0D851D-CD54-DEBB-FC0D-6986D92F5BCD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1" creationId="{9369E914-61E3-3221-0830-40BD49D8615D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2" creationId="{D7A96F2A-E25F-373B-6C1E-101BB0BF60BF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3" creationId="{21D8B5E6-06F9-EAC1-D030-F85CD55CC72B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4" creationId="{1FB82C8D-5ED4-BBC5-04AE-EC8CBF092F95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5" creationId="{ACA46D10-2501-40CC-F299-68A3B0E55115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6" creationId="{78307CF9-A0A5-64DB-6207-1D26D93965A5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7" creationId="{268AF073-5653-328A-0139-020D122DB319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8" creationId="{EFE8EF1E-19A8-8955-4F43-BCAA954227D3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29" creationId="{5848F20B-321B-B1B9-6BFD-2C677EE77AF6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30" creationId="{0C02BCE4-5614-7BBD-3430-2E275C8406CB}"/>
          </ac:picMkLst>
        </pc:picChg>
        <pc:picChg chg="add mod">
          <ac:chgData name="Oscar Llorente Gonzalez" userId="e1d48c7f-7de1-49f5-ba88-07a54202ac7d" providerId="ADAL" clId="{F37813CC-6907-4F4D-B15A-1E0D0E480B20}" dt="2025-02-18T09:28:00.266" v="320" actId="1076"/>
          <ac:picMkLst>
            <pc:docMk/>
            <pc:sldMk cId="308179650" sldId="2147479831"/>
            <ac:picMk id="31" creationId="{750D9EBC-C4D6-85B2-52F8-1DD66A4958B4}"/>
          </ac:picMkLst>
        </pc:picChg>
        <pc:picChg chg="add mod">
          <ac:chgData name="Oscar Llorente Gonzalez" userId="e1d48c7f-7de1-49f5-ba88-07a54202ac7d" providerId="ADAL" clId="{F37813CC-6907-4F4D-B15A-1E0D0E480B20}" dt="2025-02-18T09:28:44.213" v="325" actId="1076"/>
          <ac:picMkLst>
            <pc:docMk/>
            <pc:sldMk cId="308179650" sldId="2147479831"/>
            <ac:picMk id="32" creationId="{F6C959D5-13C6-84FC-8819-4FD1378D6092}"/>
          </ac:picMkLst>
        </pc:picChg>
        <pc:cxnChg chg="add mod">
          <ac:chgData name="Oscar Llorente Gonzalez" userId="e1d48c7f-7de1-49f5-ba88-07a54202ac7d" providerId="ADAL" clId="{F37813CC-6907-4F4D-B15A-1E0D0E480B20}" dt="2025-02-18T09:28:44.213" v="325" actId="1076"/>
          <ac:cxnSpMkLst>
            <pc:docMk/>
            <pc:sldMk cId="308179650" sldId="2147479831"/>
            <ac:cxnSpMk id="34" creationId="{CC31204A-9EB0-EC47-4391-D62CA67E799C}"/>
          </ac:cxnSpMkLst>
        </pc:cxnChg>
      </pc:sldChg>
      <pc:sldChg chg="addSp delSp modSp new mod">
        <pc:chgData name="Oscar Llorente Gonzalez" userId="e1d48c7f-7de1-49f5-ba88-07a54202ac7d" providerId="ADAL" clId="{F37813CC-6907-4F4D-B15A-1E0D0E480B20}" dt="2025-02-20T14:15:37.566" v="1072" actId="790"/>
        <pc:sldMkLst>
          <pc:docMk/>
          <pc:sldMk cId="206420167" sldId="2147479832"/>
        </pc:sldMkLst>
        <pc:spChg chg="mod">
          <ac:chgData name="Oscar Llorente Gonzalez" userId="e1d48c7f-7de1-49f5-ba88-07a54202ac7d" providerId="ADAL" clId="{F37813CC-6907-4F4D-B15A-1E0D0E480B20}" dt="2025-02-20T14:15:37.566" v="1072" actId="790"/>
          <ac:spMkLst>
            <pc:docMk/>
            <pc:sldMk cId="206420167" sldId="2147479832"/>
            <ac:spMk id="2" creationId="{F3149E1A-50E1-308A-C908-C4DF15F69F97}"/>
          </ac:spMkLst>
        </pc:spChg>
        <pc:spChg chg="del">
          <ac:chgData name="Oscar Llorente Gonzalez" userId="e1d48c7f-7de1-49f5-ba88-07a54202ac7d" providerId="ADAL" clId="{F37813CC-6907-4F4D-B15A-1E0D0E480B20}" dt="2025-02-18T09:31:28.565" v="361" actId="478"/>
          <ac:spMkLst>
            <pc:docMk/>
            <pc:sldMk cId="206420167" sldId="2147479832"/>
            <ac:spMk id="3" creationId="{36264B38-D343-2618-5D10-9C6F434211D1}"/>
          </ac:spMkLst>
        </pc:spChg>
        <pc:picChg chg="add mod">
          <ac:chgData name="Oscar Llorente Gonzalez" userId="e1d48c7f-7de1-49f5-ba88-07a54202ac7d" providerId="ADAL" clId="{F37813CC-6907-4F4D-B15A-1E0D0E480B20}" dt="2025-02-18T09:31:41.123" v="368" actId="1076"/>
          <ac:picMkLst>
            <pc:docMk/>
            <pc:sldMk cId="206420167" sldId="2147479832"/>
            <ac:picMk id="4" creationId="{D70E7917-AAFA-BC10-EA57-2BC7C15BC0A1}"/>
          </ac:picMkLst>
        </pc:picChg>
        <pc:picChg chg="add mod">
          <ac:chgData name="Oscar Llorente Gonzalez" userId="e1d48c7f-7de1-49f5-ba88-07a54202ac7d" providerId="ADAL" clId="{F37813CC-6907-4F4D-B15A-1E0D0E480B20}" dt="2025-02-18T09:31:40.194" v="367" actId="1076"/>
          <ac:picMkLst>
            <pc:docMk/>
            <pc:sldMk cId="206420167" sldId="2147479832"/>
            <ac:picMk id="5" creationId="{AF0A25A1-DF5A-8A68-ADFA-2CC247708748}"/>
          </ac:picMkLst>
        </pc:picChg>
      </pc:sldChg>
      <pc:sldChg chg="addSp delSp modSp new mod ord">
        <pc:chgData name="Oscar Llorente Gonzalez" userId="e1d48c7f-7de1-49f5-ba88-07a54202ac7d" providerId="ADAL" clId="{F37813CC-6907-4F4D-B15A-1E0D0E480B20}" dt="2025-02-20T10:52:35.761" v="781" actId="20577"/>
        <pc:sldMkLst>
          <pc:docMk/>
          <pc:sldMk cId="2764360597" sldId="2147479833"/>
        </pc:sldMkLst>
        <pc:spChg chg="mod">
          <ac:chgData name="Oscar Llorente Gonzalez" userId="e1d48c7f-7de1-49f5-ba88-07a54202ac7d" providerId="ADAL" clId="{F37813CC-6907-4F4D-B15A-1E0D0E480B20}" dt="2025-02-20T10:52:35.761" v="781" actId="20577"/>
          <ac:spMkLst>
            <pc:docMk/>
            <pc:sldMk cId="2764360597" sldId="2147479833"/>
            <ac:spMk id="2" creationId="{961559ED-FDB1-AE0B-6739-08CD8A57B92E}"/>
          </ac:spMkLst>
        </pc:spChg>
        <pc:spChg chg="del">
          <ac:chgData name="Oscar Llorente Gonzalez" userId="e1d48c7f-7de1-49f5-ba88-07a54202ac7d" providerId="ADAL" clId="{F37813CC-6907-4F4D-B15A-1E0D0E480B20}" dt="2025-02-18T09:36:24.083" v="455" actId="478"/>
          <ac:spMkLst>
            <pc:docMk/>
            <pc:sldMk cId="2764360597" sldId="2147479833"/>
            <ac:spMk id="3" creationId="{FCF6CD29-D39B-5699-5C98-23EDD40F7FC7}"/>
          </ac:spMkLst>
        </pc:spChg>
        <pc:picChg chg="add mod">
          <ac:chgData name="Oscar Llorente Gonzalez" userId="e1d48c7f-7de1-49f5-ba88-07a54202ac7d" providerId="ADAL" clId="{F37813CC-6907-4F4D-B15A-1E0D0E480B20}" dt="2025-02-18T09:36:38.878" v="463" actId="1076"/>
          <ac:picMkLst>
            <pc:docMk/>
            <pc:sldMk cId="2764360597" sldId="2147479833"/>
            <ac:picMk id="5" creationId="{7D3F02DB-84B6-64BF-B698-2450CA5F663B}"/>
          </ac:picMkLst>
        </pc:picChg>
      </pc:sldChg>
      <pc:sldChg chg="modSp new mod">
        <pc:chgData name="Oscar Llorente Gonzalez" userId="e1d48c7f-7de1-49f5-ba88-07a54202ac7d" providerId="ADAL" clId="{F37813CC-6907-4F4D-B15A-1E0D0E480B20}" dt="2025-02-18T15:52:51.463" v="481"/>
        <pc:sldMkLst>
          <pc:docMk/>
          <pc:sldMk cId="3142548179" sldId="2147479834"/>
        </pc:sldMkLst>
        <pc:spChg chg="mod">
          <ac:chgData name="Oscar Llorente Gonzalez" userId="e1d48c7f-7de1-49f5-ba88-07a54202ac7d" providerId="ADAL" clId="{F37813CC-6907-4F4D-B15A-1E0D0E480B20}" dt="2025-02-18T15:51:55.538" v="474" actId="20577"/>
          <ac:spMkLst>
            <pc:docMk/>
            <pc:sldMk cId="3142548179" sldId="2147479834"/>
            <ac:spMk id="2" creationId="{8DE0EE4F-3000-927C-3CDB-6296960C4C71}"/>
          </ac:spMkLst>
        </pc:spChg>
        <pc:spChg chg="mod">
          <ac:chgData name="Oscar Llorente Gonzalez" userId="e1d48c7f-7de1-49f5-ba88-07a54202ac7d" providerId="ADAL" clId="{F37813CC-6907-4F4D-B15A-1E0D0E480B20}" dt="2025-02-18T15:52:51.463" v="481"/>
          <ac:spMkLst>
            <pc:docMk/>
            <pc:sldMk cId="3142548179" sldId="2147479834"/>
            <ac:spMk id="3" creationId="{FEE58850-F4A1-D07C-0233-D4EE5758F0A4}"/>
          </ac:spMkLst>
        </pc:spChg>
      </pc:sldChg>
      <pc:sldChg chg="addSp delSp modSp new mod ord">
        <pc:chgData name="Oscar Llorente Gonzalez" userId="e1d48c7f-7de1-49f5-ba88-07a54202ac7d" providerId="ADAL" clId="{F37813CC-6907-4F4D-B15A-1E0D0E480B20}" dt="2025-02-20T14:04:02.701" v="951"/>
        <pc:sldMkLst>
          <pc:docMk/>
          <pc:sldMk cId="1570847427" sldId="2147479835"/>
        </pc:sldMkLst>
        <pc:spChg chg="mod">
          <ac:chgData name="Oscar Llorente Gonzalez" userId="e1d48c7f-7de1-49f5-ba88-07a54202ac7d" providerId="ADAL" clId="{F37813CC-6907-4F4D-B15A-1E0D0E480B20}" dt="2025-02-20T10:54:43.183" v="850" actId="20577"/>
          <ac:spMkLst>
            <pc:docMk/>
            <pc:sldMk cId="1570847427" sldId="2147479835"/>
            <ac:spMk id="2" creationId="{A7748CAE-749E-7EB0-DCE5-F68640328752}"/>
          </ac:spMkLst>
        </pc:spChg>
        <pc:spChg chg="del">
          <ac:chgData name="Oscar Llorente Gonzalez" userId="e1d48c7f-7de1-49f5-ba88-07a54202ac7d" providerId="ADAL" clId="{F37813CC-6907-4F4D-B15A-1E0D0E480B20}" dt="2025-02-20T10:56:56.962" v="851" actId="478"/>
          <ac:spMkLst>
            <pc:docMk/>
            <pc:sldMk cId="1570847427" sldId="2147479835"/>
            <ac:spMk id="3" creationId="{37177269-3D6D-EB9A-F30F-192920DD32B2}"/>
          </ac:spMkLst>
        </pc:spChg>
        <pc:picChg chg="add mod">
          <ac:chgData name="Oscar Llorente Gonzalez" userId="e1d48c7f-7de1-49f5-ba88-07a54202ac7d" providerId="ADAL" clId="{F37813CC-6907-4F4D-B15A-1E0D0E480B20}" dt="2025-02-20T10:57:03.894" v="857" actId="1076"/>
          <ac:picMkLst>
            <pc:docMk/>
            <pc:sldMk cId="1570847427" sldId="2147479835"/>
            <ac:picMk id="5" creationId="{4A62C3F1-EC78-12AB-FB8A-BF99BC4BE78D}"/>
          </ac:picMkLst>
        </pc:picChg>
        <pc:picChg chg="add mod">
          <ac:chgData name="Oscar Llorente Gonzalez" userId="e1d48c7f-7de1-49f5-ba88-07a54202ac7d" providerId="ADAL" clId="{F37813CC-6907-4F4D-B15A-1E0D0E480B20}" dt="2025-02-20T10:57:43.907" v="863" actId="1076"/>
          <ac:picMkLst>
            <pc:docMk/>
            <pc:sldMk cId="1570847427" sldId="2147479835"/>
            <ac:picMk id="1026" creationId="{4726F1B7-AC4B-0573-44C2-7C9042A67194}"/>
          </ac:picMkLst>
        </pc:picChg>
      </pc:sldChg>
      <pc:sldChg chg="new del">
        <pc:chgData name="Oscar Llorente Gonzalez" userId="e1d48c7f-7de1-49f5-ba88-07a54202ac7d" providerId="ADAL" clId="{F37813CC-6907-4F4D-B15A-1E0D0E480B20}" dt="2025-02-19T22:02:44.204" v="709" actId="680"/>
        <pc:sldMkLst>
          <pc:docMk/>
          <pc:sldMk cId="2671291613" sldId="2147479835"/>
        </pc:sldMkLst>
      </pc:sldChg>
      <pc:sldChg chg="addSp delSp modSp new mod">
        <pc:chgData name="Oscar Llorente Gonzalez" userId="e1d48c7f-7de1-49f5-ba88-07a54202ac7d" providerId="ADAL" clId="{F37813CC-6907-4F4D-B15A-1E0D0E480B20}" dt="2025-02-20T16:27:17.600" v="1240" actId="1076"/>
        <pc:sldMkLst>
          <pc:docMk/>
          <pc:sldMk cId="721471011" sldId="2147479836"/>
        </pc:sldMkLst>
        <pc:spChg chg="mod">
          <ac:chgData name="Oscar Llorente Gonzalez" userId="e1d48c7f-7de1-49f5-ba88-07a54202ac7d" providerId="ADAL" clId="{F37813CC-6907-4F4D-B15A-1E0D0E480B20}" dt="2025-02-20T10:53:46.665" v="813" actId="20577"/>
          <ac:spMkLst>
            <pc:docMk/>
            <pc:sldMk cId="721471011" sldId="2147479836"/>
            <ac:spMk id="2" creationId="{29CB2D9C-8B36-DF82-DE62-04BD9EBCA822}"/>
          </ac:spMkLst>
        </pc:spChg>
        <pc:spChg chg="del">
          <ac:chgData name="Oscar Llorente Gonzalez" userId="e1d48c7f-7de1-49f5-ba88-07a54202ac7d" providerId="ADAL" clId="{F37813CC-6907-4F4D-B15A-1E0D0E480B20}" dt="2025-02-20T10:53:48.802" v="814" actId="478"/>
          <ac:spMkLst>
            <pc:docMk/>
            <pc:sldMk cId="721471011" sldId="2147479836"/>
            <ac:spMk id="3" creationId="{7B2ADC1A-E702-1858-B1D2-A5C8662BED30}"/>
          </ac:spMkLst>
        </pc:spChg>
        <pc:picChg chg="add mod">
          <ac:chgData name="Oscar Llorente Gonzalez" userId="e1d48c7f-7de1-49f5-ba88-07a54202ac7d" providerId="ADAL" clId="{F37813CC-6907-4F4D-B15A-1E0D0E480B20}" dt="2025-02-20T16:27:17.600" v="1240" actId="1076"/>
          <ac:picMkLst>
            <pc:docMk/>
            <pc:sldMk cId="721471011" sldId="2147479836"/>
            <ac:picMk id="4" creationId="{B6381542-7F94-2D4E-74F9-1572A79EA486}"/>
          </ac:picMkLst>
        </pc:picChg>
        <pc:picChg chg="add del mod">
          <ac:chgData name="Oscar Llorente Gonzalez" userId="e1d48c7f-7de1-49f5-ba88-07a54202ac7d" providerId="ADAL" clId="{F37813CC-6907-4F4D-B15A-1E0D0E480B20}" dt="2025-02-20T16:27:12.628" v="1235" actId="478"/>
          <ac:picMkLst>
            <pc:docMk/>
            <pc:sldMk cId="721471011" sldId="2147479836"/>
            <ac:picMk id="5" creationId="{6ABA127C-8BA4-1AAE-33CD-148B50508C99}"/>
          </ac:picMkLst>
        </pc:picChg>
      </pc:sldChg>
      <pc:sldChg chg="addSp delSp modSp new mod ord">
        <pc:chgData name="Oscar Llorente Gonzalez" userId="e1d48c7f-7de1-49f5-ba88-07a54202ac7d" providerId="ADAL" clId="{F37813CC-6907-4F4D-B15A-1E0D0E480B20}" dt="2025-02-20T14:15:10.093" v="1070" actId="1076"/>
        <pc:sldMkLst>
          <pc:docMk/>
          <pc:sldMk cId="4232699703" sldId="2147479837"/>
        </pc:sldMkLst>
        <pc:spChg chg="mod">
          <ac:chgData name="Oscar Llorente Gonzalez" userId="e1d48c7f-7de1-49f5-ba88-07a54202ac7d" providerId="ADAL" clId="{F37813CC-6907-4F4D-B15A-1E0D0E480B20}" dt="2025-02-20T10:58:05.089" v="870" actId="20577"/>
          <ac:spMkLst>
            <pc:docMk/>
            <pc:sldMk cId="4232699703" sldId="2147479837"/>
            <ac:spMk id="2" creationId="{A286588C-9397-091F-F0E5-C54A775F8BDD}"/>
          </ac:spMkLst>
        </pc:spChg>
        <pc:spChg chg="del">
          <ac:chgData name="Oscar Llorente Gonzalez" userId="e1d48c7f-7de1-49f5-ba88-07a54202ac7d" providerId="ADAL" clId="{F37813CC-6907-4F4D-B15A-1E0D0E480B20}" dt="2025-02-20T10:58:09.938" v="871" actId="478"/>
          <ac:spMkLst>
            <pc:docMk/>
            <pc:sldMk cId="4232699703" sldId="2147479837"/>
            <ac:spMk id="3" creationId="{1C2B39C9-47AA-9929-4EEB-68AF751E5CA6}"/>
          </ac:spMkLst>
        </pc:spChg>
        <pc:picChg chg="add mod">
          <ac:chgData name="Oscar Llorente Gonzalez" userId="e1d48c7f-7de1-49f5-ba88-07a54202ac7d" providerId="ADAL" clId="{F37813CC-6907-4F4D-B15A-1E0D0E480B20}" dt="2025-02-20T14:15:09.161" v="1069" actId="1076"/>
          <ac:picMkLst>
            <pc:docMk/>
            <pc:sldMk cId="4232699703" sldId="2147479837"/>
            <ac:picMk id="4" creationId="{A788DE20-8559-56DC-5E36-4D2B73FE4205}"/>
          </ac:picMkLst>
        </pc:picChg>
        <pc:picChg chg="add mod">
          <ac:chgData name="Oscar Llorente Gonzalez" userId="e1d48c7f-7de1-49f5-ba88-07a54202ac7d" providerId="ADAL" clId="{F37813CC-6907-4F4D-B15A-1E0D0E480B20}" dt="2025-02-20T14:15:10.093" v="1070" actId="1076"/>
          <ac:picMkLst>
            <pc:docMk/>
            <pc:sldMk cId="4232699703" sldId="2147479837"/>
            <ac:picMk id="6" creationId="{A46FF6CB-65E2-DF95-9787-6B7405096589}"/>
          </ac:picMkLst>
        </pc:picChg>
      </pc:sldChg>
      <pc:sldChg chg="addSp delSp modSp new mod">
        <pc:chgData name="Oscar Llorente Gonzalez" userId="e1d48c7f-7de1-49f5-ba88-07a54202ac7d" providerId="ADAL" clId="{F37813CC-6907-4F4D-B15A-1E0D0E480B20}" dt="2025-02-20T14:15:16.329" v="1071" actId="1076"/>
        <pc:sldMkLst>
          <pc:docMk/>
          <pc:sldMk cId="1503827115" sldId="2147479838"/>
        </pc:sldMkLst>
        <pc:spChg chg="mod">
          <ac:chgData name="Oscar Llorente Gonzalez" userId="e1d48c7f-7de1-49f5-ba88-07a54202ac7d" providerId="ADAL" clId="{F37813CC-6907-4F4D-B15A-1E0D0E480B20}" dt="2025-02-20T14:00:38.813" v="933" actId="790"/>
          <ac:spMkLst>
            <pc:docMk/>
            <pc:sldMk cId="1503827115" sldId="2147479838"/>
            <ac:spMk id="2" creationId="{8BC28B9D-FDC1-5195-A8D2-0DB5691FBAD9}"/>
          </ac:spMkLst>
        </pc:spChg>
        <pc:spChg chg="del">
          <ac:chgData name="Oscar Llorente Gonzalez" userId="e1d48c7f-7de1-49f5-ba88-07a54202ac7d" providerId="ADAL" clId="{F37813CC-6907-4F4D-B15A-1E0D0E480B20}" dt="2025-02-20T14:00:42.051" v="934" actId="478"/>
          <ac:spMkLst>
            <pc:docMk/>
            <pc:sldMk cId="1503827115" sldId="2147479838"/>
            <ac:spMk id="3" creationId="{400BBDB2-154E-A3B8-6FD3-E8EAC1C9CD22}"/>
          </ac:spMkLst>
        </pc:spChg>
        <pc:picChg chg="add mod">
          <ac:chgData name="Oscar Llorente Gonzalez" userId="e1d48c7f-7de1-49f5-ba88-07a54202ac7d" providerId="ADAL" clId="{F37813CC-6907-4F4D-B15A-1E0D0E480B20}" dt="2025-02-20T14:15:16.329" v="1071" actId="1076"/>
          <ac:picMkLst>
            <pc:docMk/>
            <pc:sldMk cId="1503827115" sldId="2147479838"/>
            <ac:picMk id="5" creationId="{DF8411F8-9E15-4722-DBDE-8CD0A7FA6C37}"/>
          </ac:picMkLst>
        </pc:picChg>
      </pc:sldChg>
      <pc:sldChg chg="addSp delSp modSp new mod">
        <pc:chgData name="Oscar Llorente Gonzalez" userId="e1d48c7f-7de1-49f5-ba88-07a54202ac7d" providerId="ADAL" clId="{F37813CC-6907-4F4D-B15A-1E0D0E480B20}" dt="2025-02-20T14:06:14.831" v="960" actId="1076"/>
        <pc:sldMkLst>
          <pc:docMk/>
          <pc:sldMk cId="3834283447" sldId="2147479839"/>
        </pc:sldMkLst>
        <pc:spChg chg="mod">
          <ac:chgData name="Oscar Llorente Gonzalez" userId="e1d48c7f-7de1-49f5-ba88-07a54202ac7d" providerId="ADAL" clId="{F37813CC-6907-4F4D-B15A-1E0D0E480B20}" dt="2025-02-20T14:02:55.424" v="946" actId="20577"/>
          <ac:spMkLst>
            <pc:docMk/>
            <pc:sldMk cId="3834283447" sldId="2147479839"/>
            <ac:spMk id="2" creationId="{6ADCE4CC-64D5-AA0E-B674-77C8A002BF53}"/>
          </ac:spMkLst>
        </pc:spChg>
        <pc:spChg chg="del">
          <ac:chgData name="Oscar Llorente Gonzalez" userId="e1d48c7f-7de1-49f5-ba88-07a54202ac7d" providerId="ADAL" clId="{F37813CC-6907-4F4D-B15A-1E0D0E480B20}" dt="2025-02-20T14:02:57.856" v="947" actId="478"/>
          <ac:spMkLst>
            <pc:docMk/>
            <pc:sldMk cId="3834283447" sldId="2147479839"/>
            <ac:spMk id="3" creationId="{91AFD11E-C376-A027-60A9-BA85A1AA7D03}"/>
          </ac:spMkLst>
        </pc:spChg>
        <pc:picChg chg="add mod">
          <ac:chgData name="Oscar Llorente Gonzalez" userId="e1d48c7f-7de1-49f5-ba88-07a54202ac7d" providerId="ADAL" clId="{F37813CC-6907-4F4D-B15A-1E0D0E480B20}" dt="2025-02-20T14:06:14.831" v="960" actId="1076"/>
          <ac:picMkLst>
            <pc:docMk/>
            <pc:sldMk cId="3834283447" sldId="2147479839"/>
            <ac:picMk id="5" creationId="{8DB7F9D7-A46A-0129-A019-3AC70C7ADCB3}"/>
          </ac:picMkLst>
        </pc:picChg>
      </pc:sldChg>
      <pc:sldChg chg="addSp delSp modSp new mod ord">
        <pc:chgData name="Oscar Llorente Gonzalez" userId="e1d48c7f-7de1-49f5-ba88-07a54202ac7d" providerId="ADAL" clId="{F37813CC-6907-4F4D-B15A-1E0D0E480B20}" dt="2025-02-20T14:11:23.969" v="1049"/>
        <pc:sldMkLst>
          <pc:docMk/>
          <pc:sldMk cId="973587080" sldId="2147479840"/>
        </pc:sldMkLst>
        <pc:spChg chg="mod">
          <ac:chgData name="Oscar Llorente Gonzalez" userId="e1d48c7f-7de1-49f5-ba88-07a54202ac7d" providerId="ADAL" clId="{F37813CC-6907-4F4D-B15A-1E0D0E480B20}" dt="2025-02-20T14:09:37.480" v="1036" actId="20577"/>
          <ac:spMkLst>
            <pc:docMk/>
            <pc:sldMk cId="973587080" sldId="2147479840"/>
            <ac:spMk id="2" creationId="{38C80E2B-E7C0-DE19-EF90-2BFB2DA5B6C3}"/>
          </ac:spMkLst>
        </pc:spChg>
        <pc:spChg chg="del">
          <ac:chgData name="Oscar Llorente Gonzalez" userId="e1d48c7f-7de1-49f5-ba88-07a54202ac7d" providerId="ADAL" clId="{F37813CC-6907-4F4D-B15A-1E0D0E480B20}" dt="2025-02-20T14:09:39.349" v="1037" actId="478"/>
          <ac:spMkLst>
            <pc:docMk/>
            <pc:sldMk cId="973587080" sldId="2147479840"/>
            <ac:spMk id="3" creationId="{891E4183-E374-ABB1-9582-6BC06A8595B3}"/>
          </ac:spMkLst>
        </pc:spChg>
        <pc:picChg chg="add mod">
          <ac:chgData name="Oscar Llorente Gonzalez" userId="e1d48c7f-7de1-49f5-ba88-07a54202ac7d" providerId="ADAL" clId="{F37813CC-6907-4F4D-B15A-1E0D0E480B20}" dt="2025-02-20T14:11:17.250" v="1047" actId="1076"/>
          <ac:picMkLst>
            <pc:docMk/>
            <pc:sldMk cId="973587080" sldId="2147479840"/>
            <ac:picMk id="4098" creationId="{282CDCBD-DD81-7C81-1545-33645A5226F4}"/>
          </ac:picMkLst>
        </pc:picChg>
      </pc:sldChg>
      <pc:sldChg chg="addSp delSp modSp new mod">
        <pc:chgData name="Oscar Llorente Gonzalez" userId="e1d48c7f-7de1-49f5-ba88-07a54202ac7d" providerId="ADAL" clId="{F37813CC-6907-4F4D-B15A-1E0D0E480B20}" dt="2025-02-20T14:09:15.295" v="1008" actId="1076"/>
        <pc:sldMkLst>
          <pc:docMk/>
          <pc:sldMk cId="2708139774" sldId="2147479841"/>
        </pc:sldMkLst>
        <pc:spChg chg="mod">
          <ac:chgData name="Oscar Llorente Gonzalez" userId="e1d48c7f-7de1-49f5-ba88-07a54202ac7d" providerId="ADAL" clId="{F37813CC-6907-4F4D-B15A-1E0D0E480B20}" dt="2025-02-20T14:06:54.718" v="982" actId="20577"/>
          <ac:spMkLst>
            <pc:docMk/>
            <pc:sldMk cId="2708139774" sldId="2147479841"/>
            <ac:spMk id="2" creationId="{1BE0FCF7-1DD4-C0D3-4810-82A0AC336CD9}"/>
          </ac:spMkLst>
        </pc:spChg>
        <pc:spChg chg="del">
          <ac:chgData name="Oscar Llorente Gonzalez" userId="e1d48c7f-7de1-49f5-ba88-07a54202ac7d" providerId="ADAL" clId="{F37813CC-6907-4F4D-B15A-1E0D0E480B20}" dt="2025-02-20T14:06:57.286" v="983" actId="478"/>
          <ac:spMkLst>
            <pc:docMk/>
            <pc:sldMk cId="2708139774" sldId="2147479841"/>
            <ac:spMk id="3" creationId="{A87611AC-A7DF-58FA-810B-D8CA011B6087}"/>
          </ac:spMkLst>
        </pc:spChg>
        <pc:spChg chg="add">
          <ac:chgData name="Oscar Llorente Gonzalez" userId="e1d48c7f-7de1-49f5-ba88-07a54202ac7d" providerId="ADAL" clId="{F37813CC-6907-4F4D-B15A-1E0D0E480B20}" dt="2025-02-20T14:07:46.959" v="988"/>
          <ac:spMkLst>
            <pc:docMk/>
            <pc:sldMk cId="2708139774" sldId="2147479841"/>
            <ac:spMk id="4" creationId="{3F59AABE-4A04-9FD0-33F6-BA2B1D93ED68}"/>
          </ac:spMkLst>
        </pc:spChg>
        <pc:spChg chg="add">
          <ac:chgData name="Oscar Llorente Gonzalez" userId="e1d48c7f-7de1-49f5-ba88-07a54202ac7d" providerId="ADAL" clId="{F37813CC-6907-4F4D-B15A-1E0D0E480B20}" dt="2025-02-20T14:07:51.578" v="989"/>
          <ac:spMkLst>
            <pc:docMk/>
            <pc:sldMk cId="2708139774" sldId="2147479841"/>
            <ac:spMk id="5" creationId="{9BC6779C-C50F-7886-305D-174171433715}"/>
          </ac:spMkLst>
        </pc:spChg>
        <pc:picChg chg="add mod">
          <ac:chgData name="Oscar Llorente Gonzalez" userId="e1d48c7f-7de1-49f5-ba88-07a54202ac7d" providerId="ADAL" clId="{F37813CC-6907-4F4D-B15A-1E0D0E480B20}" dt="2025-02-20T14:09:15.295" v="1008" actId="1076"/>
          <ac:picMkLst>
            <pc:docMk/>
            <pc:sldMk cId="2708139774" sldId="2147479841"/>
            <ac:picMk id="2050" creationId="{D5ECD479-A582-A70D-7EE2-BCEED5582A5F}"/>
          </ac:picMkLst>
        </pc:picChg>
        <pc:picChg chg="add mod">
          <ac:chgData name="Oscar Llorente Gonzalez" userId="e1d48c7f-7de1-49f5-ba88-07a54202ac7d" providerId="ADAL" clId="{F37813CC-6907-4F4D-B15A-1E0D0E480B20}" dt="2025-02-20T14:09:13.114" v="1007" actId="1076"/>
          <ac:picMkLst>
            <pc:docMk/>
            <pc:sldMk cId="2708139774" sldId="2147479841"/>
            <ac:picMk id="2056" creationId="{3269B665-A407-D2DF-1B7C-252CC45AF2CA}"/>
          </ac:picMkLst>
        </pc:picChg>
        <pc:picChg chg="add mod">
          <ac:chgData name="Oscar Llorente Gonzalez" userId="e1d48c7f-7de1-49f5-ba88-07a54202ac7d" providerId="ADAL" clId="{F37813CC-6907-4F4D-B15A-1E0D0E480B20}" dt="2025-02-20T14:09:10.003" v="1005" actId="1076"/>
          <ac:picMkLst>
            <pc:docMk/>
            <pc:sldMk cId="2708139774" sldId="2147479841"/>
            <ac:picMk id="2058" creationId="{A66BACE3-4ABF-3D96-6F38-DA7F6D3BC0ED}"/>
          </ac:picMkLst>
        </pc:picChg>
      </pc:sldChg>
      <pc:sldChg chg="addSp delSp modSp new mod ord">
        <pc:chgData name="Oscar Llorente Gonzalez" userId="e1d48c7f-7de1-49f5-ba88-07a54202ac7d" providerId="ADAL" clId="{F37813CC-6907-4F4D-B15A-1E0D0E480B20}" dt="2025-02-20T14:20:55.447" v="1178" actId="404"/>
        <pc:sldMkLst>
          <pc:docMk/>
          <pc:sldMk cId="2055846759" sldId="2147479842"/>
        </pc:sldMkLst>
        <pc:spChg chg="mod">
          <ac:chgData name="Oscar Llorente Gonzalez" userId="e1d48c7f-7de1-49f5-ba88-07a54202ac7d" providerId="ADAL" clId="{F37813CC-6907-4F4D-B15A-1E0D0E480B20}" dt="2025-02-20T14:18:31.958" v="1115" actId="20577"/>
          <ac:spMkLst>
            <pc:docMk/>
            <pc:sldMk cId="2055846759" sldId="2147479842"/>
            <ac:spMk id="2" creationId="{0F35CA64-8528-FEDC-0C08-806D48013CDF}"/>
          </ac:spMkLst>
        </pc:spChg>
        <pc:spChg chg="del mod">
          <ac:chgData name="Oscar Llorente Gonzalez" userId="e1d48c7f-7de1-49f5-ba88-07a54202ac7d" providerId="ADAL" clId="{F37813CC-6907-4F4D-B15A-1E0D0E480B20}" dt="2025-02-20T14:11:37.480" v="1065" actId="478"/>
          <ac:spMkLst>
            <pc:docMk/>
            <pc:sldMk cId="2055846759" sldId="2147479842"/>
            <ac:spMk id="3" creationId="{E9858809-31F4-3DC6-A8DF-B06631183FC1}"/>
          </ac:spMkLst>
        </pc:spChg>
        <pc:spChg chg="add mod">
          <ac:chgData name="Oscar Llorente Gonzalez" userId="e1d48c7f-7de1-49f5-ba88-07a54202ac7d" providerId="ADAL" clId="{F37813CC-6907-4F4D-B15A-1E0D0E480B20}" dt="2025-02-20T14:20:55.447" v="1178" actId="404"/>
          <ac:spMkLst>
            <pc:docMk/>
            <pc:sldMk cId="2055846759" sldId="2147479842"/>
            <ac:spMk id="6" creationId="{69BFE6A7-8C67-ABEB-9A4F-D4DA5352C184}"/>
          </ac:spMkLst>
        </pc:spChg>
        <pc:picChg chg="add del mod">
          <ac:chgData name="Oscar Llorente Gonzalez" userId="e1d48c7f-7de1-49f5-ba88-07a54202ac7d" providerId="ADAL" clId="{F37813CC-6907-4F4D-B15A-1E0D0E480B20}" dt="2025-02-20T14:19:03.665" v="1116" actId="478"/>
          <ac:picMkLst>
            <pc:docMk/>
            <pc:sldMk cId="2055846759" sldId="2147479842"/>
            <ac:picMk id="4" creationId="{593CF463-24ED-992D-7112-1509D7F34AA1}"/>
          </ac:picMkLst>
        </pc:picChg>
        <pc:picChg chg="add mod modCrop">
          <ac:chgData name="Oscar Llorente Gonzalez" userId="e1d48c7f-7de1-49f5-ba88-07a54202ac7d" providerId="ADAL" clId="{F37813CC-6907-4F4D-B15A-1E0D0E480B20}" dt="2025-02-20T14:20:07.894" v="1169" actId="14861"/>
          <ac:picMkLst>
            <pc:docMk/>
            <pc:sldMk cId="2055846759" sldId="2147479842"/>
            <ac:picMk id="5" creationId="{01282F78-7DFA-51D1-5325-4D306720E6BE}"/>
          </ac:picMkLst>
        </pc:picChg>
      </pc:sldChg>
      <pc:sldChg chg="new del">
        <pc:chgData name="Oscar Llorente Gonzalez" userId="e1d48c7f-7de1-49f5-ba88-07a54202ac7d" providerId="ADAL" clId="{F37813CC-6907-4F4D-B15A-1E0D0E480B20}" dt="2025-02-20T14:09:28.344" v="1010" actId="47"/>
        <pc:sldMkLst>
          <pc:docMk/>
          <pc:sldMk cId="3731103044" sldId="2147479842"/>
        </pc:sldMkLst>
      </pc:sldChg>
      <pc:sldChg chg="addSp delSp modSp new mod">
        <pc:chgData name="Oscar Llorente Gonzalez" userId="e1d48c7f-7de1-49f5-ba88-07a54202ac7d" providerId="ADAL" clId="{F37813CC-6907-4F4D-B15A-1E0D0E480B20}" dt="2025-02-20T14:25:51.596" v="1234" actId="20577"/>
        <pc:sldMkLst>
          <pc:docMk/>
          <pc:sldMk cId="2508278326" sldId="2147479843"/>
        </pc:sldMkLst>
        <pc:spChg chg="mod">
          <ac:chgData name="Oscar Llorente Gonzalez" userId="e1d48c7f-7de1-49f5-ba88-07a54202ac7d" providerId="ADAL" clId="{F37813CC-6907-4F4D-B15A-1E0D0E480B20}" dt="2025-02-20T14:25:51.596" v="1234" actId="20577"/>
          <ac:spMkLst>
            <pc:docMk/>
            <pc:sldMk cId="2508278326" sldId="2147479843"/>
            <ac:spMk id="2" creationId="{AF827E88-DB9F-101F-A206-81F48CE20F01}"/>
          </ac:spMkLst>
        </pc:spChg>
        <pc:spChg chg="del">
          <ac:chgData name="Oscar Llorente Gonzalez" userId="e1d48c7f-7de1-49f5-ba88-07a54202ac7d" providerId="ADAL" clId="{F37813CC-6907-4F4D-B15A-1E0D0E480B20}" dt="2025-02-20T14:24:23.616" v="1180" actId="478"/>
          <ac:spMkLst>
            <pc:docMk/>
            <pc:sldMk cId="2508278326" sldId="2147479843"/>
            <ac:spMk id="3" creationId="{6720B938-5645-E3E9-B376-7C2163658372}"/>
          </ac:spMkLst>
        </pc:spChg>
        <pc:picChg chg="add mod">
          <ac:chgData name="Oscar Llorente Gonzalez" userId="e1d48c7f-7de1-49f5-ba88-07a54202ac7d" providerId="ADAL" clId="{F37813CC-6907-4F4D-B15A-1E0D0E480B20}" dt="2025-02-20T14:25:28.973" v="1197" actId="1076"/>
          <ac:picMkLst>
            <pc:docMk/>
            <pc:sldMk cId="2508278326" sldId="2147479843"/>
            <ac:picMk id="5" creationId="{D1A5D4CF-FB5C-1558-C353-E6790B8092CB}"/>
          </ac:picMkLst>
        </pc:picChg>
        <pc:picChg chg="add mod">
          <ac:chgData name="Oscar Llorente Gonzalez" userId="e1d48c7f-7de1-49f5-ba88-07a54202ac7d" providerId="ADAL" clId="{F37813CC-6907-4F4D-B15A-1E0D0E480B20}" dt="2025-02-20T14:25:27.488" v="1196" actId="1076"/>
          <ac:picMkLst>
            <pc:docMk/>
            <pc:sldMk cId="2508278326" sldId="2147479843"/>
            <ac:picMk id="7" creationId="{0B074706-525A-4098-7189-696B41F59DAF}"/>
          </ac:picMkLst>
        </pc:picChg>
      </pc:sldChg>
      <pc:sldMasterChg chg="delSldLayout">
        <pc:chgData name="Oscar Llorente Gonzalez" userId="e1d48c7f-7de1-49f5-ba88-07a54202ac7d" providerId="ADAL" clId="{F37813CC-6907-4F4D-B15A-1E0D0E480B20}" dt="2025-02-18T09:29:00.429" v="356" actId="47"/>
        <pc:sldMasterMkLst>
          <pc:docMk/>
          <pc:sldMasterMk cId="2523064765" sldId="2147483660"/>
        </pc:sldMasterMkLst>
        <pc:sldLayoutChg chg="del">
          <pc:chgData name="Oscar Llorente Gonzalez" userId="e1d48c7f-7de1-49f5-ba88-07a54202ac7d" providerId="ADAL" clId="{F37813CC-6907-4F4D-B15A-1E0D0E480B20}" dt="2025-02-18T09:26:17.371" v="277" actId="47"/>
          <pc:sldLayoutMkLst>
            <pc:docMk/>
            <pc:sldMasterMk cId="2523064765" sldId="2147483660"/>
            <pc:sldLayoutMk cId="2234813305" sldId="2147483845"/>
          </pc:sldLayoutMkLst>
        </pc:sldLayoutChg>
        <pc:sldLayoutChg chg="del">
          <pc:chgData name="Oscar Llorente Gonzalez" userId="e1d48c7f-7de1-49f5-ba88-07a54202ac7d" providerId="ADAL" clId="{F37813CC-6907-4F4D-B15A-1E0D0E480B20}" dt="2025-02-18T09:27:35.685" v="315" actId="47"/>
          <pc:sldLayoutMkLst>
            <pc:docMk/>
            <pc:sldMasterMk cId="2523064765" sldId="2147483660"/>
            <pc:sldLayoutMk cId="3438367586" sldId="2147483845"/>
          </pc:sldLayoutMkLst>
        </pc:sldLayoutChg>
        <pc:sldLayoutChg chg="del">
          <pc:chgData name="Oscar Llorente Gonzalez" userId="e1d48c7f-7de1-49f5-ba88-07a54202ac7d" providerId="ADAL" clId="{F37813CC-6907-4F4D-B15A-1E0D0E480B20}" dt="2025-02-18T09:29:00.429" v="356" actId="47"/>
          <pc:sldLayoutMkLst>
            <pc:docMk/>
            <pc:sldMasterMk cId="2523064765" sldId="2147483660"/>
            <pc:sldLayoutMk cId="4169243497" sldId="2147483845"/>
          </pc:sldLayoutMkLst>
        </pc:sldLayoutChg>
      </pc:sldMasterChg>
    </pc:docChg>
  </pc:docChgLst>
  <pc:docChgLst>
    <pc:chgData name="Oscar Llorente Gonzalez" userId="e1d48c7f-7de1-49f5-ba88-07a54202ac7d" providerId="ADAL" clId="{B322E4E1-5FEE-4CD4-9AF1-3DF7A064646B}"/>
    <pc:docChg chg="custSel addSld delSld modSld modMainMaster modSection">
      <pc:chgData name="Oscar Llorente Gonzalez" userId="e1d48c7f-7de1-49f5-ba88-07a54202ac7d" providerId="ADAL" clId="{B322E4E1-5FEE-4CD4-9AF1-3DF7A064646B}" dt="2024-02-08T12:05:50.094" v="54" actId="20577"/>
      <pc:docMkLst>
        <pc:docMk/>
      </pc:docMkLst>
      <pc:sldChg chg="modSp mod">
        <pc:chgData name="Oscar Llorente Gonzalez" userId="e1d48c7f-7de1-49f5-ba88-07a54202ac7d" providerId="ADAL" clId="{B322E4E1-5FEE-4CD4-9AF1-3DF7A064646B}" dt="2024-02-08T11:19:33.130" v="28" actId="20577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B322E4E1-5FEE-4CD4-9AF1-3DF7A064646B}" dt="2024-02-08T11:19:33.130" v="28" actId="20577"/>
          <ac:spMkLst>
            <pc:docMk/>
            <pc:sldMk cId="46647062" sldId="2147479193"/>
            <ac:spMk id="20" creationId="{BDDCF03B-24AE-05EB-527C-A8170D91E665}"/>
          </ac:spMkLst>
        </pc:spChg>
      </pc:sldChg>
      <pc:sldChg chg="del">
        <pc:chgData name="Oscar Llorente Gonzalez" userId="e1d48c7f-7de1-49f5-ba88-07a54202ac7d" providerId="ADAL" clId="{B322E4E1-5FEE-4CD4-9AF1-3DF7A064646B}" dt="2024-02-08T11:20:18.063" v="35" actId="47"/>
        <pc:sldMkLst>
          <pc:docMk/>
          <pc:sldMk cId="456826536" sldId="2147479496"/>
        </pc:sldMkLst>
      </pc:sldChg>
      <pc:sldChg chg="del">
        <pc:chgData name="Oscar Llorente Gonzalez" userId="e1d48c7f-7de1-49f5-ba88-07a54202ac7d" providerId="ADAL" clId="{B322E4E1-5FEE-4CD4-9AF1-3DF7A064646B}" dt="2024-02-08T11:20:16.962" v="31" actId="47"/>
        <pc:sldMkLst>
          <pc:docMk/>
          <pc:sldMk cId="2453484934" sldId="2147479498"/>
        </pc:sldMkLst>
      </pc:sldChg>
      <pc:sldChg chg="del">
        <pc:chgData name="Oscar Llorente Gonzalez" userId="e1d48c7f-7de1-49f5-ba88-07a54202ac7d" providerId="ADAL" clId="{B322E4E1-5FEE-4CD4-9AF1-3DF7A064646B}" dt="2024-02-08T11:19:41.033" v="29" actId="47"/>
        <pc:sldMkLst>
          <pc:docMk/>
          <pc:sldMk cId="1766832716" sldId="2147479499"/>
        </pc:sldMkLst>
      </pc:sldChg>
      <pc:sldChg chg="del">
        <pc:chgData name="Oscar Llorente Gonzalez" userId="e1d48c7f-7de1-49f5-ba88-07a54202ac7d" providerId="ADAL" clId="{B322E4E1-5FEE-4CD4-9AF1-3DF7A064646B}" dt="2024-02-08T11:20:25.956" v="38" actId="47"/>
        <pc:sldMkLst>
          <pc:docMk/>
          <pc:sldMk cId="1508270735" sldId="2147479505"/>
        </pc:sldMkLst>
      </pc:sldChg>
      <pc:sldChg chg="del">
        <pc:chgData name="Oscar Llorente Gonzalez" userId="e1d48c7f-7de1-49f5-ba88-07a54202ac7d" providerId="ADAL" clId="{B322E4E1-5FEE-4CD4-9AF1-3DF7A064646B}" dt="2024-02-08T11:19:41.965" v="30" actId="47"/>
        <pc:sldMkLst>
          <pc:docMk/>
          <pc:sldMk cId="1410135881" sldId="2147479506"/>
        </pc:sldMkLst>
      </pc:sldChg>
      <pc:sldChg chg="del">
        <pc:chgData name="Oscar Llorente Gonzalez" userId="e1d48c7f-7de1-49f5-ba88-07a54202ac7d" providerId="ADAL" clId="{B322E4E1-5FEE-4CD4-9AF1-3DF7A064646B}" dt="2024-02-08T11:20:17.145" v="32" actId="47"/>
        <pc:sldMkLst>
          <pc:docMk/>
          <pc:sldMk cId="1288778451" sldId="2147479507"/>
        </pc:sldMkLst>
      </pc:sldChg>
      <pc:sldChg chg="del">
        <pc:chgData name="Oscar Llorente Gonzalez" userId="e1d48c7f-7de1-49f5-ba88-07a54202ac7d" providerId="ADAL" clId="{B322E4E1-5FEE-4CD4-9AF1-3DF7A064646B}" dt="2024-02-08T11:20:17.869" v="34" actId="47"/>
        <pc:sldMkLst>
          <pc:docMk/>
          <pc:sldMk cId="2329968910" sldId="2147479508"/>
        </pc:sldMkLst>
      </pc:sldChg>
      <pc:sldChg chg="del">
        <pc:chgData name="Oscar Llorente Gonzalez" userId="e1d48c7f-7de1-49f5-ba88-07a54202ac7d" providerId="ADAL" clId="{B322E4E1-5FEE-4CD4-9AF1-3DF7A064646B}" dt="2024-02-08T11:20:17.330" v="33" actId="47"/>
        <pc:sldMkLst>
          <pc:docMk/>
          <pc:sldMk cId="2427112225" sldId="2147479509"/>
        </pc:sldMkLst>
      </pc:sldChg>
      <pc:sldChg chg="del">
        <pc:chgData name="Oscar Llorente Gonzalez" userId="e1d48c7f-7de1-49f5-ba88-07a54202ac7d" providerId="ADAL" clId="{B322E4E1-5FEE-4CD4-9AF1-3DF7A064646B}" dt="2024-02-08T11:20:19.148" v="36" actId="47"/>
        <pc:sldMkLst>
          <pc:docMk/>
          <pc:sldMk cId="2088336728" sldId="2147479796"/>
        </pc:sldMkLst>
      </pc:sldChg>
      <pc:sldChg chg="new">
        <pc:chgData name="Oscar Llorente Gonzalez" userId="e1d48c7f-7de1-49f5-ba88-07a54202ac7d" providerId="ADAL" clId="{B322E4E1-5FEE-4CD4-9AF1-3DF7A064646B}" dt="2024-02-08T11:20:20.999" v="37" actId="680"/>
        <pc:sldMkLst>
          <pc:docMk/>
          <pc:sldMk cId="4062506516" sldId="2147479798"/>
        </pc:sldMkLst>
      </pc:sldChg>
      <pc:sldMasterChg chg="modSldLayout">
        <pc:chgData name="Oscar Llorente Gonzalez" userId="e1d48c7f-7de1-49f5-ba88-07a54202ac7d" providerId="ADAL" clId="{B322E4E1-5FEE-4CD4-9AF1-3DF7A064646B}" dt="2024-02-08T12:05:50.061" v="50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B322E4E1-5FEE-4CD4-9AF1-3DF7A064646B}" dt="2024-02-08T12:05:50.043" v="42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B322E4E1-5FEE-4CD4-9AF1-3DF7A064646B}" dt="2024-02-08T12:05:50.043" v="42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B322E4E1-5FEE-4CD4-9AF1-3DF7A064646B}" dt="2024-02-08T12:05:50.061" v="50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B322E4E1-5FEE-4CD4-9AF1-3DF7A064646B}" dt="2024-02-08T12:05:50.061" v="50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B322E4E1-5FEE-4CD4-9AF1-3DF7A064646B}" dt="2024-02-08T12:05:50.053" v="46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B322E4E1-5FEE-4CD4-9AF1-3DF7A064646B}" dt="2024-02-08T12:05:50.053" v="46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</pc:sldMasterChg>
      <pc:sldMasterChg chg="modSldLayout">
        <pc:chgData name="Oscar Llorente Gonzalez" userId="e1d48c7f-7de1-49f5-ba88-07a54202ac7d" providerId="ADAL" clId="{B322E4E1-5FEE-4CD4-9AF1-3DF7A064646B}" dt="2024-02-08T12:05:50.094" v="54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B322E4E1-5FEE-4CD4-9AF1-3DF7A064646B}" dt="2024-02-08T12:05:50.094" v="54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B322E4E1-5FEE-4CD4-9AF1-3DF7A064646B}" dt="2024-02-08T12:05:50.094" v="54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</pc:sldMasterChg>
    </pc:docChg>
  </pc:docChgLst>
  <pc:docChgLst>
    <pc:chgData name="Oscar Llorente Gonzalez" userId="e1d48c7f-7de1-49f5-ba88-07a54202ac7d" providerId="ADAL" clId="{5A80F24B-A99F-4C5F-80FB-BB877AB3CE9A}"/>
    <pc:docChg chg="undo redo custSel addSld delSld modSld modMainMaster modSection">
      <pc:chgData name="Oscar Llorente Gonzalez" userId="e1d48c7f-7de1-49f5-ba88-07a54202ac7d" providerId="ADAL" clId="{5A80F24B-A99F-4C5F-80FB-BB877AB3CE9A}" dt="2024-07-26T12:52:14.378" v="2414" actId="20577"/>
      <pc:docMkLst>
        <pc:docMk/>
      </pc:docMkLst>
      <pc:sldChg chg="modSp add del">
        <pc:chgData name="Oscar Llorente Gonzalez" userId="e1d48c7f-7de1-49f5-ba88-07a54202ac7d" providerId="ADAL" clId="{5A80F24B-A99F-4C5F-80FB-BB877AB3CE9A}" dt="2024-07-26T12:30:03.054" v="1633" actId="47"/>
        <pc:sldMkLst>
          <pc:docMk/>
          <pc:sldMk cId="597653648" sldId="256"/>
        </pc:sldMkLst>
        <pc:spChg chg="mod">
          <ac:chgData name="Oscar Llorente Gonzalez" userId="e1d48c7f-7de1-49f5-ba88-07a54202ac7d" providerId="ADAL" clId="{5A80F24B-A99F-4C5F-80FB-BB877AB3CE9A}" dt="2024-07-26T11:43:52.670" v="381"/>
          <ac:spMkLst>
            <pc:docMk/>
            <pc:sldMk cId="597653648" sldId="256"/>
            <ac:spMk id="7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1:43:52.671" v="383"/>
          <ac:spMkLst>
            <pc:docMk/>
            <pc:sldMk cId="597653648" sldId="256"/>
            <ac:spMk id="27" creationId="{8C820768-6749-44A5-B541-3047F7B401A5}"/>
          </ac:spMkLst>
        </pc:spChg>
        <pc:spChg chg="mod">
          <ac:chgData name="Oscar Llorente Gonzalez" userId="e1d48c7f-7de1-49f5-ba88-07a54202ac7d" providerId="ADAL" clId="{5A80F24B-A99F-4C5F-80FB-BB877AB3CE9A}" dt="2024-07-26T11:43:52.672" v="385"/>
          <ac:spMkLst>
            <pc:docMk/>
            <pc:sldMk cId="597653648" sldId="256"/>
            <ac:spMk id="28" creationId="{5A105E20-CF43-4753-9F5B-276BE348C70C}"/>
          </ac:spMkLst>
        </pc:spChg>
        <pc:spChg chg="mod">
          <ac:chgData name="Oscar Llorente Gonzalez" userId="e1d48c7f-7de1-49f5-ba88-07a54202ac7d" providerId="ADAL" clId="{5A80F24B-A99F-4C5F-80FB-BB877AB3CE9A}" dt="2024-07-26T11:43:52.672" v="387"/>
          <ac:spMkLst>
            <pc:docMk/>
            <pc:sldMk cId="597653648" sldId="256"/>
            <ac:spMk id="29" creationId="{A3E57089-5645-4F41-A358-8ED3EE935353}"/>
          </ac:spMkLst>
        </pc:spChg>
        <pc:spChg chg="mod">
          <ac:chgData name="Oscar Llorente Gonzalez" userId="e1d48c7f-7de1-49f5-ba88-07a54202ac7d" providerId="ADAL" clId="{5A80F24B-A99F-4C5F-80FB-BB877AB3CE9A}" dt="2024-07-26T11:43:52.673" v="389"/>
          <ac:spMkLst>
            <pc:docMk/>
            <pc:sldMk cId="597653648" sldId="256"/>
            <ac:spMk id="30" creationId="{8ADD6D32-391D-4A9E-8AA1-D8222C3C127E}"/>
          </ac:spMkLst>
        </pc:spChg>
        <pc:spChg chg="mod">
          <ac:chgData name="Oscar Llorente Gonzalez" userId="e1d48c7f-7de1-49f5-ba88-07a54202ac7d" providerId="ADAL" clId="{5A80F24B-A99F-4C5F-80FB-BB877AB3CE9A}" dt="2024-07-26T11:43:52.673" v="391"/>
          <ac:spMkLst>
            <pc:docMk/>
            <pc:sldMk cId="597653648" sldId="256"/>
            <ac:spMk id="31" creationId="{4B69C972-73D7-4359-AF13-321A2C1874B5}"/>
          </ac:spMkLst>
        </pc:spChg>
        <pc:spChg chg="mod">
          <ac:chgData name="Oscar Llorente Gonzalez" userId="e1d48c7f-7de1-49f5-ba88-07a54202ac7d" providerId="ADAL" clId="{5A80F24B-A99F-4C5F-80FB-BB877AB3CE9A}" dt="2024-07-26T11:43:52.674" v="393"/>
          <ac:spMkLst>
            <pc:docMk/>
            <pc:sldMk cId="597653648" sldId="256"/>
            <ac:spMk id="32" creationId="{886A1635-D220-4E76-90B2-40FE502F9956}"/>
          </ac:spMkLst>
        </pc:spChg>
        <pc:spChg chg="mod">
          <ac:chgData name="Oscar Llorente Gonzalez" userId="e1d48c7f-7de1-49f5-ba88-07a54202ac7d" providerId="ADAL" clId="{5A80F24B-A99F-4C5F-80FB-BB877AB3CE9A}" dt="2024-07-26T11:43:52.674" v="395"/>
          <ac:spMkLst>
            <pc:docMk/>
            <pc:sldMk cId="597653648" sldId="256"/>
            <ac:spMk id="33" creationId="{ADD21209-A5FE-4A19-A2BB-EA28D197F645}"/>
          </ac:spMkLst>
        </pc:spChg>
        <pc:grpChg chg="mod">
          <ac:chgData name="Oscar Llorente Gonzalez" userId="e1d48c7f-7de1-49f5-ba88-07a54202ac7d" providerId="ADAL" clId="{5A80F24B-A99F-4C5F-80FB-BB877AB3CE9A}" dt="2024-07-26T11:43:52.675" v="397"/>
          <ac:grpSpMkLst>
            <pc:docMk/>
            <pc:sldMk cId="597653648" sldId="256"/>
            <ac:grpSpMk id="2" creationId="{28724284-01F3-4BC9-BB50-2B09ABFAF441}"/>
          </ac:grpSpMkLst>
        </pc:grpChg>
        <pc:grpChg chg="mod">
          <ac:chgData name="Oscar Llorente Gonzalez" userId="e1d48c7f-7de1-49f5-ba88-07a54202ac7d" providerId="ADAL" clId="{5A80F24B-A99F-4C5F-80FB-BB877AB3CE9A}" dt="2024-07-26T11:43:52.675" v="399"/>
          <ac:grpSpMkLst>
            <pc:docMk/>
            <pc:sldMk cId="597653648" sldId="256"/>
            <ac:grpSpMk id="9" creationId="{A19242FF-F05D-445C-B5D4-1356123232A7}"/>
          </ac:grpSpMkLst>
        </pc:grpChg>
        <pc:grpChg chg="mod">
          <ac:chgData name="Oscar Llorente Gonzalez" userId="e1d48c7f-7de1-49f5-ba88-07a54202ac7d" providerId="ADAL" clId="{5A80F24B-A99F-4C5F-80FB-BB877AB3CE9A}" dt="2024-07-26T11:43:52.676" v="401"/>
          <ac:grpSpMkLst>
            <pc:docMk/>
            <pc:sldMk cId="597653648" sldId="256"/>
            <ac:grpSpMk id="17" creationId="{0E6E489C-A6B0-465E-8729-837C5118A358}"/>
          </ac:grpSpMkLst>
        </pc:grpChg>
        <pc:grpChg chg="mod">
          <ac:chgData name="Oscar Llorente Gonzalez" userId="e1d48c7f-7de1-49f5-ba88-07a54202ac7d" providerId="ADAL" clId="{5A80F24B-A99F-4C5F-80FB-BB877AB3CE9A}" dt="2024-07-26T11:43:52.677" v="403"/>
          <ac:grpSpMkLst>
            <pc:docMk/>
            <pc:sldMk cId="597653648" sldId="256"/>
            <ac:grpSpMk id="43" creationId="{B26BC2AF-F7A2-4A04-BC1A-6F5AF8A81EF9}"/>
          </ac:grpSpMkLst>
        </pc:grpChg>
        <pc:grpChg chg="mod">
          <ac:chgData name="Oscar Llorente Gonzalez" userId="e1d48c7f-7de1-49f5-ba88-07a54202ac7d" providerId="ADAL" clId="{5A80F24B-A99F-4C5F-80FB-BB877AB3CE9A}" dt="2024-07-26T11:43:52.678" v="405"/>
          <ac:grpSpMkLst>
            <pc:docMk/>
            <pc:sldMk cId="597653648" sldId="256"/>
            <ac:grpSpMk id="47" creationId="{3EA0FBEA-46A1-485D-B42C-915BAEA336BF}"/>
          </ac:grpSpMkLst>
        </pc:grpChg>
        <pc:grpChg chg="mod">
          <ac:chgData name="Oscar Llorente Gonzalez" userId="e1d48c7f-7de1-49f5-ba88-07a54202ac7d" providerId="ADAL" clId="{5A80F24B-A99F-4C5F-80FB-BB877AB3CE9A}" dt="2024-07-26T11:43:52.679" v="407"/>
          <ac:grpSpMkLst>
            <pc:docMk/>
            <pc:sldMk cId="597653648" sldId="256"/>
            <ac:grpSpMk id="52" creationId="{4EDE29A1-F837-43DF-A61F-693C5774D09E}"/>
          </ac:grpSpMkLst>
        </pc:grpChg>
      </pc:sldChg>
      <pc:sldChg chg="modSp mod">
        <pc:chgData name="Oscar Llorente Gonzalez" userId="e1d48c7f-7de1-49f5-ba88-07a54202ac7d" providerId="ADAL" clId="{5A80F24B-A99F-4C5F-80FB-BB877AB3CE9A}" dt="2024-07-26T12:52:14.378" v="2414" actId="20577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5A80F24B-A99F-4C5F-80FB-BB877AB3CE9A}" dt="2024-07-26T12:39:17.428" v="1950" actId="20577"/>
          <ac:spMkLst>
            <pc:docMk/>
            <pc:sldMk cId="46647062" sldId="2147479193"/>
            <ac:spMk id="20" creationId="{BDDCF03B-24AE-05EB-527C-A8170D91E665}"/>
          </ac:spMkLst>
        </pc:spChg>
        <pc:spChg chg="mod">
          <ac:chgData name="Oscar Llorente Gonzalez" userId="e1d48c7f-7de1-49f5-ba88-07a54202ac7d" providerId="ADAL" clId="{5A80F24B-A99F-4C5F-80FB-BB877AB3CE9A}" dt="2024-07-26T12:52:14.378" v="2414" actId="20577"/>
          <ac:spMkLst>
            <pc:docMk/>
            <pc:sldMk cId="46647062" sldId="2147479193"/>
            <ac:spMk id="22" creationId="{18B85F4C-6797-89F5-6EA7-2997BBF4E4B1}"/>
          </ac:spMkLst>
        </pc:spChg>
      </pc:sldChg>
      <pc:sldChg chg="addSp delSp modSp mod">
        <pc:chgData name="Oscar Llorente Gonzalez" userId="e1d48c7f-7de1-49f5-ba88-07a54202ac7d" providerId="ADAL" clId="{5A80F24B-A99F-4C5F-80FB-BB877AB3CE9A}" dt="2024-07-20T15:22:08.494" v="141" actId="20577"/>
        <pc:sldMkLst>
          <pc:docMk/>
          <pc:sldMk cId="4062506516" sldId="2147479798"/>
        </pc:sldMkLst>
        <pc:spChg chg="mod">
          <ac:chgData name="Oscar Llorente Gonzalez" userId="e1d48c7f-7de1-49f5-ba88-07a54202ac7d" providerId="ADAL" clId="{5A80F24B-A99F-4C5F-80FB-BB877AB3CE9A}" dt="2024-07-20T15:22:08.494" v="141" actId="20577"/>
          <ac:spMkLst>
            <pc:docMk/>
            <pc:sldMk cId="4062506516" sldId="2147479798"/>
            <ac:spMk id="2" creationId="{681E8559-BD82-785E-6496-C0AA91840EAD}"/>
          </ac:spMkLst>
        </pc:spChg>
        <pc:spChg chg="del">
          <ac:chgData name="Oscar Llorente Gonzalez" userId="e1d48c7f-7de1-49f5-ba88-07a54202ac7d" providerId="ADAL" clId="{5A80F24B-A99F-4C5F-80FB-BB877AB3CE9A}" dt="2024-07-20T14:45:57.292" v="35" actId="478"/>
          <ac:spMkLst>
            <pc:docMk/>
            <pc:sldMk cId="4062506516" sldId="2147479798"/>
            <ac:spMk id="3" creationId="{861617CC-9DF9-41CD-2249-99717F67320B}"/>
          </ac:spMkLst>
        </pc:spChg>
        <pc:graphicFrameChg chg="add del mod">
          <ac:chgData name="Oscar Llorente Gonzalez" userId="e1d48c7f-7de1-49f5-ba88-07a54202ac7d" providerId="ADAL" clId="{5A80F24B-A99F-4C5F-80FB-BB877AB3CE9A}" dt="2024-07-20T14:43:46.017" v="19"/>
          <ac:graphicFrameMkLst>
            <pc:docMk/>
            <pc:sldMk cId="4062506516" sldId="2147479798"/>
            <ac:graphicFrameMk id="4" creationId="{5B935DF2-3763-4F22-82B8-50A1B651E6DD}"/>
          </ac:graphicFrameMkLst>
        </pc:graphicFrameChg>
        <pc:picChg chg="add del mod">
          <ac:chgData name="Oscar Llorente Gonzalez" userId="e1d48c7f-7de1-49f5-ba88-07a54202ac7d" providerId="ADAL" clId="{5A80F24B-A99F-4C5F-80FB-BB877AB3CE9A}" dt="2024-07-20T15:13:39.986" v="127" actId="478"/>
          <ac:picMkLst>
            <pc:docMk/>
            <pc:sldMk cId="4062506516" sldId="2147479798"/>
            <ac:picMk id="3" creationId="{7A180FE7-685E-2AC7-EE76-FBC16EB9F49A}"/>
          </ac:picMkLst>
        </pc:picChg>
        <pc:picChg chg="add del mod">
          <ac:chgData name="Oscar Llorente Gonzalez" userId="e1d48c7f-7de1-49f5-ba88-07a54202ac7d" providerId="ADAL" clId="{5A80F24B-A99F-4C5F-80FB-BB877AB3CE9A}" dt="2024-07-20T15:00:47.666" v="79" actId="478"/>
          <ac:picMkLst>
            <pc:docMk/>
            <pc:sldMk cId="4062506516" sldId="2147479798"/>
            <ac:picMk id="6" creationId="{1CCE344B-FD06-7AC3-E400-F271FB5AE8A5}"/>
          </ac:picMkLst>
        </pc:picChg>
        <pc:picChg chg="add mod">
          <ac:chgData name="Oscar Llorente Gonzalez" userId="e1d48c7f-7de1-49f5-ba88-07a54202ac7d" providerId="ADAL" clId="{5A80F24B-A99F-4C5F-80FB-BB877AB3CE9A}" dt="2024-07-20T15:13:59.442" v="134" actId="1076"/>
          <ac:picMkLst>
            <pc:docMk/>
            <pc:sldMk cId="4062506516" sldId="2147479798"/>
            <ac:picMk id="1026" creationId="{58DB096D-C677-974C-5EF3-CD58254EC075}"/>
          </ac:picMkLst>
        </pc:picChg>
        <pc:picChg chg="add mod">
          <ac:chgData name="Oscar Llorente Gonzalez" userId="e1d48c7f-7de1-49f5-ba88-07a54202ac7d" providerId="ADAL" clId="{5A80F24B-A99F-4C5F-80FB-BB877AB3CE9A}" dt="2024-07-20T15:13:49.215" v="132" actId="1076"/>
          <ac:picMkLst>
            <pc:docMk/>
            <pc:sldMk cId="4062506516" sldId="2147479798"/>
            <ac:picMk id="1028" creationId="{56BCC10B-ECE6-A11C-2CA1-36FBA988522A}"/>
          </ac:picMkLst>
        </pc:picChg>
        <pc:picChg chg="add del mod">
          <ac:chgData name="Oscar Llorente Gonzalez" userId="e1d48c7f-7de1-49f5-ba88-07a54202ac7d" providerId="ADAL" clId="{5A80F24B-A99F-4C5F-80FB-BB877AB3CE9A}" dt="2024-07-20T14:52:52.889" v="72" actId="478"/>
          <ac:picMkLst>
            <pc:docMk/>
            <pc:sldMk cId="4062506516" sldId="2147479798"/>
            <ac:picMk id="1028" creationId="{D8E50C0B-2526-CEDF-8178-ED19BB4C6D47}"/>
          </ac:picMkLst>
        </pc:picChg>
        <pc:picChg chg="add del mod">
          <ac:chgData name="Oscar Llorente Gonzalez" userId="e1d48c7f-7de1-49f5-ba88-07a54202ac7d" providerId="ADAL" clId="{5A80F24B-A99F-4C5F-80FB-BB877AB3CE9A}" dt="2024-07-20T15:07:55.432" v="121" actId="478"/>
          <ac:picMkLst>
            <pc:docMk/>
            <pc:sldMk cId="4062506516" sldId="2147479798"/>
            <ac:picMk id="1030" creationId="{C8BBDEB5-A2CC-A4C3-50DC-E2E1250C5AC9}"/>
          </ac:picMkLst>
        </pc:picChg>
      </pc:sldChg>
      <pc:sldChg chg="new del">
        <pc:chgData name="Oscar Llorente Gonzalez" userId="e1d48c7f-7de1-49f5-ba88-07a54202ac7d" providerId="ADAL" clId="{5A80F24B-A99F-4C5F-80FB-BB877AB3CE9A}" dt="2024-07-26T12:30:21.302" v="1634" actId="47"/>
        <pc:sldMkLst>
          <pc:docMk/>
          <pc:sldMk cId="943983982" sldId="2147479799"/>
        </pc:sldMkLst>
      </pc:sldChg>
      <pc:sldChg chg="addSp delSp modSp add del mod">
        <pc:chgData name="Oscar Llorente Gonzalez" userId="e1d48c7f-7de1-49f5-ba88-07a54202ac7d" providerId="ADAL" clId="{5A80F24B-A99F-4C5F-80FB-BB877AB3CE9A}" dt="2024-07-26T12:36:35.482" v="1937" actId="47"/>
        <pc:sldMkLst>
          <pc:docMk/>
          <pc:sldMk cId="905362749" sldId="2147479806"/>
        </pc:sldMkLst>
        <pc:spChg chg="del">
          <ac:chgData name="Oscar Llorente Gonzalez" userId="e1d48c7f-7de1-49f5-ba88-07a54202ac7d" providerId="ADAL" clId="{5A80F24B-A99F-4C5F-80FB-BB877AB3CE9A}" dt="2024-07-26T11:39:36.855" v="173" actId="478"/>
          <ac:spMkLst>
            <pc:docMk/>
            <pc:sldMk cId="905362749" sldId="2147479806"/>
            <ac:spMk id="2" creationId="{3474AAA2-C503-AD23-7571-B61EEFAB5A22}"/>
          </ac:spMkLst>
        </pc:spChg>
        <pc:spChg chg="mod">
          <ac:chgData name="Oscar Llorente Gonzalez" userId="e1d48c7f-7de1-49f5-ba88-07a54202ac7d" providerId="ADAL" clId="{5A80F24B-A99F-4C5F-80FB-BB877AB3CE9A}" dt="2024-07-26T11:39:21.706" v="167" actId="20577"/>
          <ac:spMkLst>
            <pc:docMk/>
            <pc:sldMk cId="905362749" sldId="2147479806"/>
            <ac:spMk id="4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1:42:25.522" v="349" actId="20577"/>
          <ac:spMkLst>
            <pc:docMk/>
            <pc:sldMk cId="905362749" sldId="2147479806"/>
            <ac:spMk id="15" creationId="{10FF43B2-55A7-4B07-A2D7-E1127A5111FE}"/>
          </ac:spMkLst>
        </pc:spChg>
        <pc:spChg chg="del">
          <ac:chgData name="Oscar Llorente Gonzalez" userId="e1d48c7f-7de1-49f5-ba88-07a54202ac7d" providerId="ADAL" clId="{5A80F24B-A99F-4C5F-80FB-BB877AB3CE9A}" dt="2024-07-26T11:39:32.136" v="171" actId="478"/>
          <ac:spMkLst>
            <pc:docMk/>
            <pc:sldMk cId="905362749" sldId="2147479806"/>
            <ac:spMk id="16" creationId="{224DDFD8-F4B0-4FC3-8435-029D1C66B81E}"/>
          </ac:spMkLst>
        </pc:spChg>
        <pc:spChg chg="del">
          <ac:chgData name="Oscar Llorente Gonzalez" userId="e1d48c7f-7de1-49f5-ba88-07a54202ac7d" providerId="ADAL" clId="{5A80F24B-A99F-4C5F-80FB-BB877AB3CE9A}" dt="2024-07-26T11:39:26.942" v="168" actId="478"/>
          <ac:spMkLst>
            <pc:docMk/>
            <pc:sldMk cId="905362749" sldId="2147479806"/>
            <ac:spMk id="18" creationId="{259B36BC-1CDE-44B1-8107-31FFE2C728C6}"/>
          </ac:spMkLst>
        </pc:spChg>
        <pc:spChg chg="mod">
          <ac:chgData name="Oscar Llorente Gonzalez" userId="e1d48c7f-7de1-49f5-ba88-07a54202ac7d" providerId="ADAL" clId="{5A80F24B-A99F-4C5F-80FB-BB877AB3CE9A}" dt="2024-07-26T11:40:18.448" v="192" actId="20577"/>
          <ac:spMkLst>
            <pc:docMk/>
            <pc:sldMk cId="905362749" sldId="2147479806"/>
            <ac:spMk id="19" creationId="{52E0B277-0B7B-4D98-B9A0-A9C243DB0378}"/>
          </ac:spMkLst>
        </pc:spChg>
        <pc:spChg chg="del">
          <ac:chgData name="Oscar Llorente Gonzalez" userId="e1d48c7f-7de1-49f5-ba88-07a54202ac7d" providerId="ADAL" clId="{5A80F24B-A99F-4C5F-80FB-BB877AB3CE9A}" dt="2024-07-26T11:39:41.618" v="175" actId="478"/>
          <ac:spMkLst>
            <pc:docMk/>
            <pc:sldMk cId="905362749" sldId="2147479806"/>
            <ac:spMk id="20" creationId="{D6C1D3ED-3278-42A4-82A8-C70B2221D934}"/>
          </ac:spMkLst>
        </pc:spChg>
        <pc:spChg chg="del">
          <ac:chgData name="Oscar Llorente Gonzalez" userId="e1d48c7f-7de1-49f5-ba88-07a54202ac7d" providerId="ADAL" clId="{5A80F24B-A99F-4C5F-80FB-BB877AB3CE9A}" dt="2024-07-26T11:39:35.147" v="172" actId="478"/>
          <ac:spMkLst>
            <pc:docMk/>
            <pc:sldMk cId="905362749" sldId="2147479806"/>
            <ac:spMk id="21" creationId="{723B3E69-8CB4-4AE1-B94F-3B7B9976EF4F}"/>
          </ac:spMkLst>
        </pc:spChg>
        <pc:grpChg chg="add del mod">
          <ac:chgData name="Oscar Llorente Gonzalez" userId="e1d48c7f-7de1-49f5-ba88-07a54202ac7d" providerId="ADAL" clId="{5A80F24B-A99F-4C5F-80FB-BB877AB3CE9A}" dt="2024-07-26T11:40:00.440" v="178" actId="14100"/>
          <ac:grpSpMkLst>
            <pc:docMk/>
            <pc:sldMk cId="905362749" sldId="2147479806"/>
            <ac:grpSpMk id="34" creationId="{52BFA7C5-56A5-46CA-B51C-C369A465FEBD}"/>
          </ac:grpSpMkLst>
        </pc:grpChg>
      </pc:sldChg>
      <pc:sldChg chg="new del">
        <pc:chgData name="Oscar Llorente Gonzalez" userId="e1d48c7f-7de1-49f5-ba88-07a54202ac7d" providerId="ADAL" clId="{5A80F24B-A99F-4C5F-80FB-BB877AB3CE9A}" dt="2024-07-26T12:36:32.351" v="1935" actId="47"/>
        <pc:sldMkLst>
          <pc:docMk/>
          <pc:sldMk cId="2585229923" sldId="2147479807"/>
        </pc:sldMkLst>
      </pc:sldChg>
      <pc:sldChg chg="modSp add del mod">
        <pc:chgData name="Oscar Llorente Gonzalez" userId="e1d48c7f-7de1-49f5-ba88-07a54202ac7d" providerId="ADAL" clId="{5A80F24B-A99F-4C5F-80FB-BB877AB3CE9A}" dt="2024-07-26T12:36:33.966" v="1936" actId="47"/>
        <pc:sldMkLst>
          <pc:docMk/>
          <pc:sldMk cId="917250556" sldId="2147479808"/>
        </pc:sldMkLst>
        <pc:spChg chg="mod">
          <ac:chgData name="Oscar Llorente Gonzalez" userId="e1d48c7f-7de1-49f5-ba88-07a54202ac7d" providerId="ADAL" clId="{5A80F24B-A99F-4C5F-80FB-BB877AB3CE9A}" dt="2024-07-26T11:44:14.028" v="438"/>
          <ac:spMkLst>
            <pc:docMk/>
            <pc:sldMk cId="917250556" sldId="2147479808"/>
            <ac:spMk id="4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1:46:53.970" v="589" actId="2711"/>
          <ac:spMkLst>
            <pc:docMk/>
            <pc:sldMk cId="917250556" sldId="2147479808"/>
            <ac:spMk id="15" creationId="{10FF43B2-55A7-4B07-A2D7-E1127A5111FE}"/>
          </ac:spMkLst>
        </pc:spChg>
        <pc:spChg chg="mod">
          <ac:chgData name="Oscar Llorente Gonzalez" userId="e1d48c7f-7de1-49f5-ba88-07a54202ac7d" providerId="ADAL" clId="{5A80F24B-A99F-4C5F-80FB-BB877AB3CE9A}" dt="2024-07-26T11:46:49.806" v="571" actId="20577"/>
          <ac:spMkLst>
            <pc:docMk/>
            <pc:sldMk cId="917250556" sldId="2147479808"/>
            <ac:spMk id="16" creationId="{224DDFD8-F4B0-4FC3-8435-029D1C66B81E}"/>
          </ac:spMkLst>
        </pc:spChg>
        <pc:spChg chg="mod">
          <ac:chgData name="Oscar Llorente Gonzalez" userId="e1d48c7f-7de1-49f5-ba88-07a54202ac7d" providerId="ADAL" clId="{5A80F24B-A99F-4C5F-80FB-BB877AB3CE9A}" dt="2024-07-26T11:46:53.786" v="583" actId="20577"/>
          <ac:spMkLst>
            <pc:docMk/>
            <pc:sldMk cId="917250556" sldId="2147479808"/>
            <ac:spMk id="18" creationId="{259B36BC-1CDE-44B1-8107-31FFE2C728C6}"/>
          </ac:spMkLst>
        </pc:spChg>
        <pc:spChg chg="mod">
          <ac:chgData name="Oscar Llorente Gonzalez" userId="e1d48c7f-7de1-49f5-ba88-07a54202ac7d" providerId="ADAL" clId="{5A80F24B-A99F-4C5F-80FB-BB877AB3CE9A}" dt="2024-07-26T11:46:53.695" v="580" actId="20577"/>
          <ac:spMkLst>
            <pc:docMk/>
            <pc:sldMk cId="917250556" sldId="2147479808"/>
            <ac:spMk id="19" creationId="{52E0B277-0B7B-4D98-B9A0-A9C243DB0378}"/>
          </ac:spMkLst>
        </pc:spChg>
        <pc:spChg chg="mod">
          <ac:chgData name="Oscar Llorente Gonzalez" userId="e1d48c7f-7de1-49f5-ba88-07a54202ac7d" providerId="ADAL" clId="{5A80F24B-A99F-4C5F-80FB-BB877AB3CE9A}" dt="2024-07-26T11:46:52.455" v="574" actId="20577"/>
          <ac:spMkLst>
            <pc:docMk/>
            <pc:sldMk cId="917250556" sldId="2147479808"/>
            <ac:spMk id="20" creationId="{D6C1D3ED-3278-42A4-82A8-C70B2221D934}"/>
          </ac:spMkLst>
        </pc:spChg>
        <pc:spChg chg="mod">
          <ac:chgData name="Oscar Llorente Gonzalez" userId="e1d48c7f-7de1-49f5-ba88-07a54202ac7d" providerId="ADAL" clId="{5A80F24B-A99F-4C5F-80FB-BB877AB3CE9A}" dt="2024-07-26T11:46:53.672" v="579" actId="20577"/>
          <ac:spMkLst>
            <pc:docMk/>
            <pc:sldMk cId="917250556" sldId="2147479808"/>
            <ac:spMk id="21" creationId="{723B3E69-8CB4-4AE1-B94F-3B7B9976EF4F}"/>
          </ac:spMkLst>
        </pc:spChg>
        <pc:spChg chg="mod">
          <ac:chgData name="Oscar Llorente Gonzalez" userId="e1d48c7f-7de1-49f5-ba88-07a54202ac7d" providerId="ADAL" clId="{5A80F24B-A99F-4C5F-80FB-BB877AB3CE9A}" dt="2024-07-26T11:44:14.030" v="442"/>
          <ac:spMkLst>
            <pc:docMk/>
            <pc:sldMk cId="917250556" sldId="2147479808"/>
            <ac:spMk id="33" creationId="{2148C60D-F12B-42C7-8AAD-B30814B3C8B2}"/>
          </ac:spMkLst>
        </pc:spChg>
        <pc:grpChg chg="mod">
          <ac:chgData name="Oscar Llorente Gonzalez" userId="e1d48c7f-7de1-49f5-ba88-07a54202ac7d" providerId="ADAL" clId="{5A80F24B-A99F-4C5F-80FB-BB877AB3CE9A}" dt="2024-07-26T11:44:14.029" v="440"/>
          <ac:grpSpMkLst>
            <pc:docMk/>
            <pc:sldMk cId="917250556" sldId="2147479808"/>
            <ac:grpSpMk id="34" creationId="{52BFA7C5-56A5-46CA-B51C-C369A465FEBD}"/>
          </ac:grpSpMkLst>
        </pc:grpChg>
      </pc:sldChg>
      <pc:sldChg chg="addSp delSp modSp add mod">
        <pc:chgData name="Oscar Llorente Gonzalez" userId="e1d48c7f-7de1-49f5-ba88-07a54202ac7d" providerId="ADAL" clId="{5A80F24B-A99F-4C5F-80FB-BB877AB3CE9A}" dt="2024-07-26T12:39:59.966" v="1956" actId="478"/>
        <pc:sldMkLst>
          <pc:docMk/>
          <pc:sldMk cId="1788028285" sldId="2147479809"/>
        </pc:sldMkLst>
        <pc:spChg chg="del mod">
          <ac:chgData name="Oscar Llorente Gonzalez" userId="e1d48c7f-7de1-49f5-ba88-07a54202ac7d" providerId="ADAL" clId="{5A80F24B-A99F-4C5F-80FB-BB877AB3CE9A}" dt="2024-07-26T12:21:06.456" v="850" actId="478"/>
          <ac:spMkLst>
            <pc:docMk/>
            <pc:sldMk cId="1788028285" sldId="2147479809"/>
            <ac:spMk id="2" creationId="{3474AAA2-C503-AD23-7571-B61EEFAB5A22}"/>
          </ac:spMkLst>
        </pc:spChg>
        <pc:spChg chg="mod">
          <ac:chgData name="Oscar Llorente Gonzalez" userId="e1d48c7f-7de1-49f5-ba88-07a54202ac7d" providerId="ADAL" clId="{5A80F24B-A99F-4C5F-80FB-BB877AB3CE9A}" dt="2024-07-26T11:47:10.920" v="602" actId="20577"/>
          <ac:spMkLst>
            <pc:docMk/>
            <pc:sldMk cId="1788028285" sldId="2147479809"/>
            <ac:spMk id="4" creationId="{00000000-0000-0000-0000-000000000000}"/>
          </ac:spMkLst>
        </pc:spChg>
        <pc:spChg chg="del mod">
          <ac:chgData name="Oscar Llorente Gonzalez" userId="e1d48c7f-7de1-49f5-ba88-07a54202ac7d" providerId="ADAL" clId="{5A80F24B-A99F-4C5F-80FB-BB877AB3CE9A}" dt="2024-07-26T12:25:14.959" v="1206" actId="478"/>
          <ac:spMkLst>
            <pc:docMk/>
            <pc:sldMk cId="1788028285" sldId="2147479809"/>
            <ac:spMk id="15" creationId="{10FF43B2-55A7-4B07-A2D7-E1127A5111FE}"/>
          </ac:spMkLst>
        </pc:spChg>
        <pc:spChg chg="mod">
          <ac:chgData name="Oscar Llorente Gonzalez" userId="e1d48c7f-7de1-49f5-ba88-07a54202ac7d" providerId="ADAL" clId="{5A80F24B-A99F-4C5F-80FB-BB877AB3CE9A}" dt="2024-07-26T12:27:11.294" v="1253" actId="14100"/>
          <ac:spMkLst>
            <pc:docMk/>
            <pc:sldMk cId="1788028285" sldId="2147479809"/>
            <ac:spMk id="16" creationId="{224DDFD8-F4B0-4FC3-8435-029D1C66B81E}"/>
          </ac:spMkLst>
        </pc:spChg>
        <pc:spChg chg="mod">
          <ac:chgData name="Oscar Llorente Gonzalez" userId="e1d48c7f-7de1-49f5-ba88-07a54202ac7d" providerId="ADAL" clId="{5A80F24B-A99F-4C5F-80FB-BB877AB3CE9A}" dt="2024-07-26T12:27:12.297" v="1255" actId="14100"/>
          <ac:spMkLst>
            <pc:docMk/>
            <pc:sldMk cId="1788028285" sldId="2147479809"/>
            <ac:spMk id="18" creationId="{259B36BC-1CDE-44B1-8107-31FFE2C728C6}"/>
          </ac:spMkLst>
        </pc:spChg>
        <pc:spChg chg="mod">
          <ac:chgData name="Oscar Llorente Gonzalez" userId="e1d48c7f-7de1-49f5-ba88-07a54202ac7d" providerId="ADAL" clId="{5A80F24B-A99F-4C5F-80FB-BB877AB3CE9A}" dt="2024-07-26T12:27:37.512" v="1298" actId="20577"/>
          <ac:spMkLst>
            <pc:docMk/>
            <pc:sldMk cId="1788028285" sldId="2147479809"/>
            <ac:spMk id="19" creationId="{52E0B277-0B7B-4D98-B9A0-A9C243DB0378}"/>
          </ac:spMkLst>
        </pc:spChg>
        <pc:spChg chg="del">
          <ac:chgData name="Oscar Llorente Gonzalez" userId="e1d48c7f-7de1-49f5-ba88-07a54202ac7d" providerId="ADAL" clId="{5A80F24B-A99F-4C5F-80FB-BB877AB3CE9A}" dt="2024-07-26T12:21:37.610" v="915" actId="478"/>
          <ac:spMkLst>
            <pc:docMk/>
            <pc:sldMk cId="1788028285" sldId="2147479809"/>
            <ac:spMk id="20" creationId="{D6C1D3ED-3278-42A4-82A8-C70B2221D934}"/>
          </ac:spMkLst>
        </pc:spChg>
        <pc:spChg chg="mod">
          <ac:chgData name="Oscar Llorente Gonzalez" userId="e1d48c7f-7de1-49f5-ba88-07a54202ac7d" providerId="ADAL" clId="{5A80F24B-A99F-4C5F-80FB-BB877AB3CE9A}" dt="2024-07-26T12:36:16.872" v="1933" actId="20577"/>
          <ac:spMkLst>
            <pc:docMk/>
            <pc:sldMk cId="1788028285" sldId="2147479809"/>
            <ac:spMk id="21" creationId="{723B3E69-8CB4-4AE1-B94F-3B7B9976EF4F}"/>
          </ac:spMkLst>
        </pc:spChg>
        <pc:spChg chg="mod">
          <ac:chgData name="Oscar Llorente Gonzalez" userId="e1d48c7f-7de1-49f5-ba88-07a54202ac7d" providerId="ADAL" clId="{5A80F24B-A99F-4C5F-80FB-BB877AB3CE9A}" dt="2024-07-26T12:32:59.619" v="1863" actId="6549"/>
          <ac:spMkLst>
            <pc:docMk/>
            <pc:sldMk cId="1788028285" sldId="2147479809"/>
            <ac:spMk id="33" creationId="{2148C60D-F12B-42C7-8AAD-B30814B3C8B2}"/>
          </ac:spMkLst>
        </pc:spChg>
        <pc:grpChg chg="mod">
          <ac:chgData name="Oscar Llorente Gonzalez" userId="e1d48c7f-7de1-49f5-ba88-07a54202ac7d" providerId="ADAL" clId="{5A80F24B-A99F-4C5F-80FB-BB877AB3CE9A}" dt="2024-07-26T12:26:01.396" v="1214" actId="14100"/>
          <ac:grpSpMkLst>
            <pc:docMk/>
            <pc:sldMk cId="1788028285" sldId="2147479809"/>
            <ac:grpSpMk id="34" creationId="{52BFA7C5-56A5-46CA-B51C-C369A465FEBD}"/>
          </ac:grpSpMkLst>
        </pc:grpChg>
        <pc:picChg chg="add del mod">
          <ac:chgData name="Oscar Llorente Gonzalez" userId="e1d48c7f-7de1-49f5-ba88-07a54202ac7d" providerId="ADAL" clId="{5A80F24B-A99F-4C5F-80FB-BB877AB3CE9A}" dt="2024-07-26T12:39:59.966" v="1956" actId="478"/>
          <ac:picMkLst>
            <pc:docMk/>
            <pc:sldMk cId="1788028285" sldId="2147479809"/>
            <ac:picMk id="3" creationId="{D639DBD9-7154-B859-CCF9-8E6A9778D30B}"/>
          </ac:picMkLst>
        </pc:picChg>
      </pc:sldChg>
      <pc:sldChg chg="modSp add del">
        <pc:chgData name="Oscar Llorente Gonzalez" userId="e1d48c7f-7de1-49f5-ba88-07a54202ac7d" providerId="ADAL" clId="{5A80F24B-A99F-4C5F-80FB-BB877AB3CE9A}" dt="2024-07-26T12:36:31.002" v="1934" actId="47"/>
        <pc:sldMkLst>
          <pc:docMk/>
          <pc:sldMk cId="2721306" sldId="2147479810"/>
        </pc:sldMkLst>
        <pc:spChg chg="mod">
          <ac:chgData name="Oscar Llorente Gonzalez" userId="e1d48c7f-7de1-49f5-ba88-07a54202ac7d" providerId="ADAL" clId="{5A80F24B-A99F-4C5F-80FB-BB877AB3CE9A}" dt="2024-07-26T12:22:51.503" v="947"/>
          <ac:spMkLst>
            <pc:docMk/>
            <pc:sldMk cId="2721306" sldId="2147479810"/>
            <ac:spMk id="12" creationId="{536D4A7B-3A3B-49DD-826F-7B7780DF749B}"/>
          </ac:spMkLst>
        </pc:spChg>
        <pc:grpChg chg="mod">
          <ac:chgData name="Oscar Llorente Gonzalez" userId="e1d48c7f-7de1-49f5-ba88-07a54202ac7d" providerId="ADAL" clId="{5A80F24B-A99F-4C5F-80FB-BB877AB3CE9A}" dt="2024-07-26T12:22:51.503" v="949"/>
          <ac:grpSpMkLst>
            <pc:docMk/>
            <pc:sldMk cId="2721306" sldId="2147479810"/>
            <ac:grpSpMk id="2" creationId="{2E1D6620-C34E-4A00-8279-21B8AC27889B}"/>
          </ac:grpSpMkLst>
        </pc:grpChg>
      </pc:sldChg>
      <pc:sldChg chg="modSp add del">
        <pc:chgData name="Oscar Llorente Gonzalez" userId="e1d48c7f-7de1-49f5-ba88-07a54202ac7d" providerId="ADAL" clId="{5A80F24B-A99F-4C5F-80FB-BB877AB3CE9A}" dt="2024-07-26T12:28:55.370" v="1389" actId="47"/>
        <pc:sldMkLst>
          <pc:docMk/>
          <pc:sldMk cId="3175671722" sldId="2147479811"/>
        </pc:sldMkLst>
        <pc:spChg chg="mod">
          <ac:chgData name="Oscar Llorente Gonzalez" userId="e1d48c7f-7de1-49f5-ba88-07a54202ac7d" providerId="ADAL" clId="{5A80F24B-A99F-4C5F-80FB-BB877AB3CE9A}" dt="2024-07-26T12:23:05.288" v="980"/>
          <ac:spMkLst>
            <pc:docMk/>
            <pc:sldMk cId="3175671722" sldId="2147479811"/>
            <ac:spMk id="2" creationId="{8C19E517-6A6B-4360-92FB-61AD2739DEB6}"/>
          </ac:spMkLst>
        </pc:spChg>
        <pc:grpChg chg="mod">
          <ac:chgData name="Oscar Llorente Gonzalez" userId="e1d48c7f-7de1-49f5-ba88-07a54202ac7d" providerId="ADAL" clId="{5A80F24B-A99F-4C5F-80FB-BB877AB3CE9A}" dt="2024-07-26T12:23:05.288" v="982"/>
          <ac:grpSpMkLst>
            <pc:docMk/>
            <pc:sldMk cId="3175671722" sldId="2147479811"/>
            <ac:grpSpMk id="5" creationId="{B5BD9151-B373-4797-8FE6-C57AB70B12EC}"/>
          </ac:grpSpMkLst>
        </pc:grpChg>
      </pc:sldChg>
      <pc:sldChg chg="delSp modSp add del mod">
        <pc:chgData name="Oscar Llorente Gonzalez" userId="e1d48c7f-7de1-49f5-ba88-07a54202ac7d" providerId="ADAL" clId="{5A80F24B-A99F-4C5F-80FB-BB877AB3CE9A}" dt="2024-07-26T12:29:14.453" v="1391" actId="47"/>
        <pc:sldMkLst>
          <pc:docMk/>
          <pc:sldMk cId="3553990078" sldId="2147479812"/>
        </pc:sldMkLst>
        <pc:spChg chg="mod">
          <ac:chgData name="Oscar Llorente Gonzalez" userId="e1d48c7f-7de1-49f5-ba88-07a54202ac7d" providerId="ADAL" clId="{5A80F24B-A99F-4C5F-80FB-BB877AB3CE9A}" dt="2024-07-26T12:23:09.784" v="1015"/>
          <ac:spMkLst>
            <pc:docMk/>
            <pc:sldMk cId="3553990078" sldId="2147479812"/>
            <ac:spMk id="4" creationId="{048DF9BC-FDF5-46E5-9103-EBEE1957CCED}"/>
          </ac:spMkLst>
        </pc:spChg>
        <pc:spChg chg="mod">
          <ac:chgData name="Oscar Llorente Gonzalez" userId="e1d48c7f-7de1-49f5-ba88-07a54202ac7d" providerId="ADAL" clId="{5A80F24B-A99F-4C5F-80FB-BB877AB3CE9A}" dt="2024-07-26T12:23:09.784" v="1017"/>
          <ac:spMkLst>
            <pc:docMk/>
            <pc:sldMk cId="3553990078" sldId="2147479812"/>
            <ac:spMk id="7" creationId="{42AF14EC-84E5-489E-8AC6-33F7F98EB1C1}"/>
          </ac:spMkLst>
        </pc:spChg>
        <pc:spChg chg="del">
          <ac:chgData name="Oscar Llorente Gonzalez" userId="e1d48c7f-7de1-49f5-ba88-07a54202ac7d" providerId="ADAL" clId="{5A80F24B-A99F-4C5F-80FB-BB877AB3CE9A}" dt="2024-07-26T12:29:12.379" v="1390" actId="478"/>
          <ac:spMkLst>
            <pc:docMk/>
            <pc:sldMk cId="3553990078" sldId="2147479812"/>
            <ac:spMk id="13" creationId="{D882E4ED-6199-C24A-B646-1B4C1430FC0F}"/>
          </ac:spMkLst>
        </pc:spChg>
        <pc:grpChg chg="mod">
          <ac:chgData name="Oscar Llorente Gonzalez" userId="e1d48c7f-7de1-49f5-ba88-07a54202ac7d" providerId="ADAL" clId="{5A80F24B-A99F-4C5F-80FB-BB877AB3CE9A}" dt="2024-07-26T12:23:09.784" v="1013"/>
          <ac:grpSpMkLst>
            <pc:docMk/>
            <pc:sldMk cId="3553990078" sldId="2147479812"/>
            <ac:grpSpMk id="9" creationId="{44854E59-276A-4B27-99EB-A9AAB66805B3}"/>
          </ac:grpSpMkLst>
        </pc:grpChg>
      </pc:sldChg>
      <pc:sldChg chg="modSp add del">
        <pc:chgData name="Oscar Llorente Gonzalez" userId="e1d48c7f-7de1-49f5-ba88-07a54202ac7d" providerId="ADAL" clId="{5A80F24B-A99F-4C5F-80FB-BB877AB3CE9A}" dt="2024-07-26T12:29:15.675" v="1392" actId="47"/>
        <pc:sldMkLst>
          <pc:docMk/>
          <pc:sldMk cId="3950853585" sldId="2147479813"/>
        </pc:sldMkLst>
        <pc:spChg chg="mod">
          <ac:chgData name="Oscar Llorente Gonzalez" userId="e1d48c7f-7de1-49f5-ba88-07a54202ac7d" providerId="ADAL" clId="{5A80F24B-A99F-4C5F-80FB-BB877AB3CE9A}" dt="2024-07-26T12:23:15.597" v="1048"/>
          <ac:spMkLst>
            <pc:docMk/>
            <pc:sldMk cId="3950853585" sldId="2147479813"/>
            <ac:spMk id="84" creationId="{91910DC9-BE26-41C4-90B4-45AAF091FCC4}"/>
          </ac:spMkLst>
        </pc:spChg>
        <pc:spChg chg="mod">
          <ac:chgData name="Oscar Llorente Gonzalez" userId="e1d48c7f-7de1-49f5-ba88-07a54202ac7d" providerId="ADAL" clId="{5A80F24B-A99F-4C5F-80FB-BB877AB3CE9A}" dt="2024-07-26T12:23:15.597" v="1050"/>
          <ac:spMkLst>
            <pc:docMk/>
            <pc:sldMk cId="3950853585" sldId="2147479813"/>
            <ac:spMk id="189" creationId="{E3BDA0D2-E80B-4BC4-B647-5AC1FAD4A797}"/>
          </ac:spMkLst>
        </pc:spChg>
        <pc:grpChg chg="mod">
          <ac:chgData name="Oscar Llorente Gonzalez" userId="e1d48c7f-7de1-49f5-ba88-07a54202ac7d" providerId="ADAL" clId="{5A80F24B-A99F-4C5F-80FB-BB877AB3CE9A}" dt="2024-07-26T12:23:15.597" v="1052"/>
          <ac:grpSpMkLst>
            <pc:docMk/>
            <pc:sldMk cId="3950853585" sldId="2147479813"/>
            <ac:grpSpMk id="3" creationId="{42C415E3-9EDD-4AF7-B9E3-DB4D1ED801FC}"/>
          </ac:grpSpMkLst>
        </pc:grpChg>
      </pc:sldChg>
      <pc:sldChg chg="modSp add del">
        <pc:chgData name="Oscar Llorente Gonzalez" userId="e1d48c7f-7de1-49f5-ba88-07a54202ac7d" providerId="ADAL" clId="{5A80F24B-A99F-4C5F-80FB-BB877AB3CE9A}" dt="2024-07-26T12:29:17.107" v="1393" actId="47"/>
        <pc:sldMkLst>
          <pc:docMk/>
          <pc:sldMk cId="4107604320" sldId="2147479814"/>
        </pc:sldMkLst>
        <pc:spChg chg="mod">
          <ac:chgData name="Oscar Llorente Gonzalez" userId="e1d48c7f-7de1-49f5-ba88-07a54202ac7d" providerId="ADAL" clId="{5A80F24B-A99F-4C5F-80FB-BB877AB3CE9A}" dt="2024-07-26T12:23:28.934" v="1083"/>
          <ac:spMkLst>
            <pc:docMk/>
            <pc:sldMk cId="4107604320" sldId="2147479814"/>
            <ac:spMk id="2" creationId="{D7BD6FC9-14F8-4347-ABD4-1892F0E434E3}"/>
          </ac:spMkLst>
        </pc:spChg>
        <pc:grpChg chg="mod">
          <ac:chgData name="Oscar Llorente Gonzalez" userId="e1d48c7f-7de1-49f5-ba88-07a54202ac7d" providerId="ADAL" clId="{5A80F24B-A99F-4C5F-80FB-BB877AB3CE9A}" dt="2024-07-26T12:23:28.934" v="1085"/>
          <ac:grpSpMkLst>
            <pc:docMk/>
            <pc:sldMk cId="4107604320" sldId="2147479814"/>
            <ac:grpSpMk id="4" creationId="{3FD097ED-390F-4CC8-920D-DD531B985E2E}"/>
          </ac:grpSpMkLst>
        </pc:grpChg>
      </pc:sldChg>
      <pc:sldChg chg="modSp add del">
        <pc:chgData name="Oscar Llorente Gonzalez" userId="e1d48c7f-7de1-49f5-ba88-07a54202ac7d" providerId="ADAL" clId="{5A80F24B-A99F-4C5F-80FB-BB877AB3CE9A}" dt="2024-07-26T12:29:18.652" v="1394" actId="47"/>
        <pc:sldMkLst>
          <pc:docMk/>
          <pc:sldMk cId="1769842710" sldId="2147479815"/>
        </pc:sldMkLst>
        <pc:spChg chg="mod">
          <ac:chgData name="Oscar Llorente Gonzalez" userId="e1d48c7f-7de1-49f5-ba88-07a54202ac7d" providerId="ADAL" clId="{5A80F24B-A99F-4C5F-80FB-BB877AB3CE9A}" dt="2024-07-26T12:23:39.521" v="1116"/>
          <ac:spMkLst>
            <pc:docMk/>
            <pc:sldMk cId="1769842710" sldId="2147479815"/>
            <ac:spMk id="4" creationId="{306D82EC-811D-454E-9DFF-2EEC63AD50B4}"/>
          </ac:spMkLst>
        </pc:spChg>
        <pc:spChg chg="mod">
          <ac:chgData name="Oscar Llorente Gonzalez" userId="e1d48c7f-7de1-49f5-ba88-07a54202ac7d" providerId="ADAL" clId="{5A80F24B-A99F-4C5F-80FB-BB877AB3CE9A}" dt="2024-07-26T12:23:39.540" v="1130"/>
          <ac:spMkLst>
            <pc:docMk/>
            <pc:sldMk cId="1769842710" sldId="2147479815"/>
            <ac:spMk id="25" creationId="{AB1D581B-FF7C-41EE-90B0-3B8AB11FB9BF}"/>
          </ac:spMkLst>
        </pc:spChg>
        <pc:grpChg chg="mod">
          <ac:chgData name="Oscar Llorente Gonzalez" userId="e1d48c7f-7de1-49f5-ba88-07a54202ac7d" providerId="ADAL" clId="{5A80F24B-A99F-4C5F-80FB-BB877AB3CE9A}" dt="2024-07-26T12:23:39.532" v="1120"/>
          <ac:grpSpMkLst>
            <pc:docMk/>
            <pc:sldMk cId="1769842710" sldId="2147479815"/>
            <ac:grpSpMk id="7" creationId="{88E854BA-9171-4229-8020-1B81CF4D5EB5}"/>
          </ac:grpSpMkLst>
        </pc:grpChg>
        <pc:grpChg chg="mod">
          <ac:chgData name="Oscar Llorente Gonzalez" userId="e1d48c7f-7de1-49f5-ba88-07a54202ac7d" providerId="ADAL" clId="{5A80F24B-A99F-4C5F-80FB-BB877AB3CE9A}" dt="2024-07-26T12:23:39.540" v="1134"/>
          <ac:grpSpMkLst>
            <pc:docMk/>
            <pc:sldMk cId="1769842710" sldId="2147479815"/>
            <ac:grpSpMk id="29" creationId="{0C28306C-6F46-4BC4-ACEA-316FBEF77448}"/>
          </ac:grpSpMkLst>
        </pc:grpChg>
        <pc:graphicFrameChg chg="mod">
          <ac:chgData name="Oscar Llorente Gonzalez" userId="e1d48c7f-7de1-49f5-ba88-07a54202ac7d" providerId="ADAL" clId="{5A80F24B-A99F-4C5F-80FB-BB877AB3CE9A}" dt="2024-07-26T12:24:02.142" v="1135" actId="21"/>
          <ac:graphicFrameMkLst>
            <pc:docMk/>
            <pc:sldMk cId="1769842710" sldId="2147479815"/>
            <ac:graphicFrameMk id="5" creationId="{BB6E7DEF-BB8C-496E-8031-8C7D7CA51841}"/>
          </ac:graphicFrameMkLst>
        </pc:graphicFrameChg>
        <pc:graphicFrameChg chg="mod">
          <ac:chgData name="Oscar Llorente Gonzalez" userId="e1d48c7f-7de1-49f5-ba88-07a54202ac7d" providerId="ADAL" clId="{5A80F24B-A99F-4C5F-80FB-BB877AB3CE9A}" dt="2024-07-26T12:23:39.540" v="1132"/>
          <ac:graphicFrameMkLst>
            <pc:docMk/>
            <pc:sldMk cId="1769842710" sldId="2147479815"/>
            <ac:graphicFrameMk id="26" creationId="{592B5F9C-D815-48E9-ABD6-BB5D2E184EB9}"/>
          </ac:graphicFrameMkLst>
        </pc:graphicFrameChg>
        <pc:picChg chg="mod">
          <ac:chgData name="Oscar Llorente Gonzalez" userId="e1d48c7f-7de1-49f5-ba88-07a54202ac7d" providerId="ADAL" clId="{5A80F24B-A99F-4C5F-80FB-BB877AB3CE9A}" dt="2024-07-26T12:23:39.532" v="1122"/>
          <ac:picMkLst>
            <pc:docMk/>
            <pc:sldMk cId="1769842710" sldId="2147479815"/>
            <ac:picMk id="14" creationId="{F9061C53-199C-49D3-8B06-6D84273A4785}"/>
          </ac:picMkLst>
        </pc:picChg>
        <pc:picChg chg="mod">
          <ac:chgData name="Oscar Llorente Gonzalez" userId="e1d48c7f-7de1-49f5-ba88-07a54202ac7d" providerId="ADAL" clId="{5A80F24B-A99F-4C5F-80FB-BB877AB3CE9A}" dt="2024-07-26T12:23:39.532" v="1124"/>
          <ac:picMkLst>
            <pc:docMk/>
            <pc:sldMk cId="1769842710" sldId="2147479815"/>
            <ac:picMk id="22" creationId="{3DF0C1B9-291B-4BA0-980C-8344F9FADCD3}"/>
          </ac:picMkLst>
        </pc:picChg>
        <pc:picChg chg="mod">
          <ac:chgData name="Oscar Llorente Gonzalez" userId="e1d48c7f-7de1-49f5-ba88-07a54202ac7d" providerId="ADAL" clId="{5A80F24B-A99F-4C5F-80FB-BB877AB3CE9A}" dt="2024-07-26T12:23:39.532" v="1126"/>
          <ac:picMkLst>
            <pc:docMk/>
            <pc:sldMk cId="1769842710" sldId="2147479815"/>
            <ac:picMk id="23" creationId="{ED2AF008-6448-4D52-9A53-3F84E0B97908}"/>
          </ac:picMkLst>
        </pc:picChg>
        <pc:picChg chg="mod">
          <ac:chgData name="Oscar Llorente Gonzalez" userId="e1d48c7f-7de1-49f5-ba88-07a54202ac7d" providerId="ADAL" clId="{5A80F24B-A99F-4C5F-80FB-BB877AB3CE9A}" dt="2024-07-26T12:23:39.540" v="1128"/>
          <ac:picMkLst>
            <pc:docMk/>
            <pc:sldMk cId="1769842710" sldId="2147479815"/>
            <ac:picMk id="24" creationId="{FD713952-DF00-42B0-BA21-541EB199E0B0}"/>
          </ac:picMkLst>
        </pc:picChg>
      </pc:sldChg>
      <pc:sldChg chg="modSp add del">
        <pc:chgData name="Oscar Llorente Gonzalez" userId="e1d48c7f-7de1-49f5-ba88-07a54202ac7d" providerId="ADAL" clId="{5A80F24B-A99F-4C5F-80FB-BB877AB3CE9A}" dt="2024-07-26T12:29:19.861" v="1395" actId="47"/>
        <pc:sldMkLst>
          <pc:docMk/>
          <pc:sldMk cId="443693477" sldId="2147479816"/>
        </pc:sldMkLst>
        <pc:spChg chg="mod">
          <ac:chgData name="Oscar Llorente Gonzalez" userId="e1d48c7f-7de1-49f5-ba88-07a54202ac7d" providerId="ADAL" clId="{5A80F24B-A99F-4C5F-80FB-BB877AB3CE9A}" dt="2024-07-26T12:24:10.828" v="1166"/>
          <ac:spMkLst>
            <pc:docMk/>
            <pc:sldMk cId="443693477" sldId="2147479816"/>
            <ac:spMk id="2" creationId="{A06C4478-5383-482B-A72D-07C12BF3E075}"/>
          </ac:spMkLst>
        </pc:spChg>
        <pc:grpChg chg="mod">
          <ac:chgData name="Oscar Llorente Gonzalez" userId="e1d48c7f-7de1-49f5-ba88-07a54202ac7d" providerId="ADAL" clId="{5A80F24B-A99F-4C5F-80FB-BB877AB3CE9A}" dt="2024-07-26T12:24:10.828" v="1168"/>
          <ac:grpSpMkLst>
            <pc:docMk/>
            <pc:sldMk cId="443693477" sldId="2147479816"/>
            <ac:grpSpMk id="3" creationId="{59802E3D-06A2-4D05-BCDF-B7233D089660}"/>
          </ac:grpSpMkLst>
        </pc:grpChg>
      </pc:sldChg>
      <pc:sldChg chg="modSp add del mod">
        <pc:chgData name="Oscar Llorente Gonzalez" userId="e1d48c7f-7de1-49f5-ba88-07a54202ac7d" providerId="ADAL" clId="{5A80F24B-A99F-4C5F-80FB-BB877AB3CE9A}" dt="2024-07-26T12:29:21.266" v="1396" actId="47"/>
        <pc:sldMkLst>
          <pc:docMk/>
          <pc:sldMk cId="3636114367" sldId="2147479817"/>
        </pc:sldMkLst>
        <pc:spChg chg="mod">
          <ac:chgData name="Oscar Llorente Gonzalez" userId="e1d48c7f-7de1-49f5-ba88-07a54202ac7d" providerId="ADAL" clId="{5A80F24B-A99F-4C5F-80FB-BB877AB3CE9A}" dt="2024-07-26T12:24:27.594" v="1199"/>
          <ac:spMkLst>
            <pc:docMk/>
            <pc:sldMk cId="3636114367" sldId="2147479817"/>
            <ac:spMk id="2" creationId="{5A1F5449-A5D7-47E6-8573-29D9948FEDBE}"/>
          </ac:spMkLst>
        </pc:spChg>
        <pc:grpChg chg="mod">
          <ac:chgData name="Oscar Llorente Gonzalez" userId="e1d48c7f-7de1-49f5-ba88-07a54202ac7d" providerId="ADAL" clId="{5A80F24B-A99F-4C5F-80FB-BB877AB3CE9A}" dt="2024-07-26T12:24:27.603" v="1204"/>
          <ac:grpSpMkLst>
            <pc:docMk/>
            <pc:sldMk cId="3636114367" sldId="2147479817"/>
            <ac:grpSpMk id="13" creationId="{38EAA2D8-3565-4660-B67F-BE3652D0DA12}"/>
          </ac:grpSpMkLst>
        </pc:grpChg>
        <pc:picChg chg="mod modCrop">
          <ac:chgData name="Oscar Llorente Gonzalez" userId="e1d48c7f-7de1-49f5-ba88-07a54202ac7d" providerId="ADAL" clId="{5A80F24B-A99F-4C5F-80FB-BB877AB3CE9A}" dt="2024-07-26T12:24:27.603" v="1202"/>
          <ac:picMkLst>
            <pc:docMk/>
            <pc:sldMk cId="3636114367" sldId="2147479817"/>
            <ac:picMk id="14" creationId="{366833F5-F11D-4C28-928D-15381A068D1A}"/>
          </ac:picMkLst>
        </pc:picChg>
      </pc:sldChg>
      <pc:sldChg chg="add del">
        <pc:chgData name="Oscar Llorente Gonzalez" userId="e1d48c7f-7de1-49f5-ba88-07a54202ac7d" providerId="ADAL" clId="{5A80F24B-A99F-4C5F-80FB-BB877AB3CE9A}" dt="2024-07-26T12:27:52.129" v="1309" actId="47"/>
        <pc:sldMkLst>
          <pc:docMk/>
          <pc:sldMk cId="1323575805" sldId="2147479818"/>
        </pc:sldMkLst>
      </pc:sldChg>
      <pc:sldChg chg="modSp add mod">
        <pc:chgData name="Oscar Llorente Gonzalez" userId="e1d48c7f-7de1-49f5-ba88-07a54202ac7d" providerId="ADAL" clId="{5A80F24B-A99F-4C5F-80FB-BB877AB3CE9A}" dt="2024-07-26T12:35:13.311" v="1915" actId="20577"/>
        <pc:sldMkLst>
          <pc:docMk/>
          <pc:sldMk cId="1340164199" sldId="2147479819"/>
        </pc:sldMkLst>
        <pc:spChg chg="mod">
          <ac:chgData name="Oscar Llorente Gonzalez" userId="e1d48c7f-7de1-49f5-ba88-07a54202ac7d" providerId="ADAL" clId="{5A80F24B-A99F-4C5F-80FB-BB877AB3CE9A}" dt="2024-07-26T12:27:49.932" v="1308" actId="20577"/>
          <ac:spMkLst>
            <pc:docMk/>
            <pc:sldMk cId="1340164199" sldId="2147479819"/>
            <ac:spMk id="4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32:32.831" v="1837" actId="20577"/>
          <ac:spMkLst>
            <pc:docMk/>
            <pc:sldMk cId="1340164199" sldId="2147479819"/>
            <ac:spMk id="16" creationId="{224DDFD8-F4B0-4FC3-8435-029D1C66B81E}"/>
          </ac:spMkLst>
        </pc:spChg>
        <pc:spChg chg="mod">
          <ac:chgData name="Oscar Llorente Gonzalez" userId="e1d48c7f-7de1-49f5-ba88-07a54202ac7d" providerId="ADAL" clId="{5A80F24B-A99F-4C5F-80FB-BB877AB3CE9A}" dt="2024-07-26T12:31:13.256" v="1684" actId="20577"/>
          <ac:spMkLst>
            <pc:docMk/>
            <pc:sldMk cId="1340164199" sldId="2147479819"/>
            <ac:spMk id="18" creationId="{259B36BC-1CDE-44B1-8107-31FFE2C728C6}"/>
          </ac:spMkLst>
        </pc:spChg>
        <pc:spChg chg="mod">
          <ac:chgData name="Oscar Llorente Gonzalez" userId="e1d48c7f-7de1-49f5-ba88-07a54202ac7d" providerId="ADAL" clId="{5A80F24B-A99F-4C5F-80FB-BB877AB3CE9A}" dt="2024-07-26T12:31:21.112" v="1694" actId="20577"/>
          <ac:spMkLst>
            <pc:docMk/>
            <pc:sldMk cId="1340164199" sldId="2147479819"/>
            <ac:spMk id="19" creationId="{52E0B277-0B7B-4D98-B9A0-A9C243DB0378}"/>
          </ac:spMkLst>
        </pc:spChg>
        <pc:spChg chg="mod">
          <ac:chgData name="Oscar Llorente Gonzalez" userId="e1d48c7f-7de1-49f5-ba88-07a54202ac7d" providerId="ADAL" clId="{5A80F24B-A99F-4C5F-80FB-BB877AB3CE9A}" dt="2024-07-26T12:35:13.311" v="1915" actId="20577"/>
          <ac:spMkLst>
            <pc:docMk/>
            <pc:sldMk cId="1340164199" sldId="2147479819"/>
            <ac:spMk id="21" creationId="{723B3E69-8CB4-4AE1-B94F-3B7B9976EF4F}"/>
          </ac:spMkLst>
        </pc:spChg>
        <pc:spChg chg="mod">
          <ac:chgData name="Oscar Llorente Gonzalez" userId="e1d48c7f-7de1-49f5-ba88-07a54202ac7d" providerId="ADAL" clId="{5A80F24B-A99F-4C5F-80FB-BB877AB3CE9A}" dt="2024-07-26T12:33:12.892" v="1888" actId="6549"/>
          <ac:spMkLst>
            <pc:docMk/>
            <pc:sldMk cId="1340164199" sldId="2147479819"/>
            <ac:spMk id="33" creationId="{2148C60D-F12B-42C7-8AAD-B30814B3C8B2}"/>
          </ac:spMkLst>
        </pc:spChg>
      </pc:sldChg>
      <pc:sldChg chg="addSp modSp new mod">
        <pc:chgData name="Oscar Llorente Gonzalez" userId="e1d48c7f-7de1-49f5-ba88-07a54202ac7d" providerId="ADAL" clId="{5A80F24B-A99F-4C5F-80FB-BB877AB3CE9A}" dt="2024-07-26T12:46:02.499" v="2014" actId="1076"/>
        <pc:sldMkLst>
          <pc:docMk/>
          <pc:sldMk cId="3416463214" sldId="2147479820"/>
        </pc:sldMkLst>
        <pc:spChg chg="mod">
          <ac:chgData name="Oscar Llorente Gonzalez" userId="e1d48c7f-7de1-49f5-ba88-07a54202ac7d" providerId="ADAL" clId="{5A80F24B-A99F-4C5F-80FB-BB877AB3CE9A}" dt="2024-07-26T12:41:02.711" v="2011" actId="14100"/>
          <ac:spMkLst>
            <pc:docMk/>
            <pc:sldMk cId="3416463214" sldId="2147479820"/>
            <ac:spMk id="2" creationId="{AC119190-5427-B63E-810D-5A9C88F10772}"/>
          </ac:spMkLst>
        </pc:spChg>
        <pc:picChg chg="add mod">
          <ac:chgData name="Oscar Llorente Gonzalez" userId="e1d48c7f-7de1-49f5-ba88-07a54202ac7d" providerId="ADAL" clId="{5A80F24B-A99F-4C5F-80FB-BB877AB3CE9A}" dt="2024-07-26T12:46:02.499" v="2014" actId="1076"/>
          <ac:picMkLst>
            <pc:docMk/>
            <pc:sldMk cId="3416463214" sldId="2147479820"/>
            <ac:picMk id="4" creationId="{E6EAA0B1-6F8A-13D5-7DAD-652DC8FD5786}"/>
          </ac:picMkLst>
        </pc:picChg>
      </pc:sldChg>
      <pc:sldChg chg="modSp add del mod">
        <pc:chgData name="Oscar Llorente Gonzalez" userId="e1d48c7f-7de1-49f5-ba88-07a54202ac7d" providerId="ADAL" clId="{5A80F24B-A99F-4C5F-80FB-BB877AB3CE9A}" dt="2024-07-26T12:30:00.411" v="1628" actId="47"/>
        <pc:sldMkLst>
          <pc:docMk/>
          <pc:sldMk cId="3502701790" sldId="2147479820"/>
        </pc:sldMkLst>
        <pc:spChg chg="mod">
          <ac:chgData name="Oscar Llorente Gonzalez" userId="e1d48c7f-7de1-49f5-ba88-07a54202ac7d" providerId="ADAL" clId="{5A80F24B-A99F-4C5F-80FB-BB877AB3CE9A}" dt="2024-07-26T12:29:29.925" v="1430"/>
          <ac:spMkLst>
            <pc:docMk/>
            <pc:sldMk cId="3502701790" sldId="2147479820"/>
            <ac:spMk id="3" creationId="{B9153E5B-0313-48A1-9C75-4D0481804FB1}"/>
          </ac:spMkLst>
        </pc:spChg>
        <pc:spChg chg="mod">
          <ac:chgData name="Oscar Llorente Gonzalez" userId="e1d48c7f-7de1-49f5-ba88-07a54202ac7d" providerId="ADAL" clId="{5A80F24B-A99F-4C5F-80FB-BB877AB3CE9A}" dt="2024-07-26T12:29:29.925" v="1432"/>
          <ac:spMkLst>
            <pc:docMk/>
            <pc:sldMk cId="3502701790" sldId="2147479820"/>
            <ac:spMk id="13" creationId="{37C437A5-3D0C-4C47-A0BB-DB433CD19B27}"/>
          </ac:spMkLst>
        </pc:spChg>
        <pc:spChg chg="mod">
          <ac:chgData name="Oscar Llorente Gonzalez" userId="e1d48c7f-7de1-49f5-ba88-07a54202ac7d" providerId="ADAL" clId="{5A80F24B-A99F-4C5F-80FB-BB877AB3CE9A}" dt="2024-07-26T12:29:29.925" v="1434"/>
          <ac:spMkLst>
            <pc:docMk/>
            <pc:sldMk cId="3502701790" sldId="2147479820"/>
            <ac:spMk id="15" creationId="{C30A4E91-C66D-46CF-8AA7-90B783D62382}"/>
          </ac:spMkLst>
        </pc:spChg>
        <pc:spChg chg="mod">
          <ac:chgData name="Oscar Llorente Gonzalez" userId="e1d48c7f-7de1-49f5-ba88-07a54202ac7d" providerId="ADAL" clId="{5A80F24B-A99F-4C5F-80FB-BB877AB3CE9A}" dt="2024-07-26T12:29:29.925" v="1436"/>
          <ac:spMkLst>
            <pc:docMk/>
            <pc:sldMk cId="3502701790" sldId="2147479820"/>
            <ac:spMk id="17" creationId="{26149A86-B4DB-4485-9340-1E7F22012129}"/>
          </ac:spMkLst>
        </pc:spChg>
        <pc:spChg chg="mod">
          <ac:chgData name="Oscar Llorente Gonzalez" userId="e1d48c7f-7de1-49f5-ba88-07a54202ac7d" providerId="ADAL" clId="{5A80F24B-A99F-4C5F-80FB-BB877AB3CE9A}" dt="2024-07-26T12:29:29.925" v="1438"/>
          <ac:spMkLst>
            <pc:docMk/>
            <pc:sldMk cId="3502701790" sldId="2147479820"/>
            <ac:spMk id="18" creationId="{8A650237-7CDC-4687-B349-E57671EB4A6B}"/>
          </ac:spMkLst>
        </pc:spChg>
        <pc:grpChg chg="mod">
          <ac:chgData name="Oscar Llorente Gonzalez" userId="e1d48c7f-7de1-49f5-ba88-07a54202ac7d" providerId="ADAL" clId="{5A80F24B-A99F-4C5F-80FB-BB877AB3CE9A}" dt="2024-07-26T12:29:29.925" v="1440"/>
          <ac:grpSpMkLst>
            <pc:docMk/>
            <pc:sldMk cId="3502701790" sldId="2147479820"/>
            <ac:grpSpMk id="2" creationId="{79815511-CA0F-48A3-9E63-46CF92E53E50}"/>
          </ac:grpSpMkLst>
        </pc:grpChg>
        <pc:picChg chg="mod modCrop">
          <ac:chgData name="Oscar Llorente Gonzalez" userId="e1d48c7f-7de1-49f5-ba88-07a54202ac7d" providerId="ADAL" clId="{5A80F24B-A99F-4C5F-80FB-BB877AB3CE9A}" dt="2024-07-26T12:29:29.925" v="1428"/>
          <ac:picMkLst>
            <pc:docMk/>
            <pc:sldMk cId="3502701790" sldId="2147479820"/>
            <ac:picMk id="14" creationId="{00000000-0000-0000-0000-000000000000}"/>
          </ac:picMkLst>
        </pc:picChg>
      </pc:sldChg>
      <pc:sldChg chg="modSp add del">
        <pc:chgData name="Oscar Llorente Gonzalez" userId="e1d48c7f-7de1-49f5-ba88-07a54202ac7d" providerId="ADAL" clId="{5A80F24B-A99F-4C5F-80FB-BB877AB3CE9A}" dt="2024-07-26T12:28:46.801" v="1388" actId="47"/>
        <pc:sldMkLst>
          <pc:docMk/>
          <pc:sldMk cId="3703526171" sldId="2147479820"/>
        </pc:sldMkLst>
        <pc:spChg chg="mod">
          <ac:chgData name="Oscar Llorente Gonzalez" userId="e1d48c7f-7de1-49f5-ba88-07a54202ac7d" providerId="ADAL" clId="{5A80F24B-A99F-4C5F-80FB-BB877AB3CE9A}" dt="2024-07-26T12:28:43.077" v="1387"/>
          <ac:spMkLst>
            <pc:docMk/>
            <pc:sldMk cId="3703526171" sldId="2147479820"/>
            <ac:spMk id="2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69"/>
          <ac:spMkLst>
            <pc:docMk/>
            <pc:sldMk cId="3703526171" sldId="2147479820"/>
            <ac:spMk id="15363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71"/>
          <ac:spMkLst>
            <pc:docMk/>
            <pc:sldMk cId="3703526171" sldId="2147479820"/>
            <ac:spMk id="15364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73"/>
          <ac:spMkLst>
            <pc:docMk/>
            <pc:sldMk cId="3703526171" sldId="2147479820"/>
            <ac:spMk id="15365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75"/>
          <ac:spMkLst>
            <pc:docMk/>
            <pc:sldMk cId="3703526171" sldId="2147479820"/>
            <ac:spMk id="15366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77"/>
          <ac:spMkLst>
            <pc:docMk/>
            <pc:sldMk cId="3703526171" sldId="2147479820"/>
            <ac:spMk id="15367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79"/>
          <ac:spMkLst>
            <pc:docMk/>
            <pc:sldMk cId="3703526171" sldId="2147479820"/>
            <ac:spMk id="15368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81"/>
          <ac:spMkLst>
            <pc:docMk/>
            <pc:sldMk cId="3703526171" sldId="2147479820"/>
            <ac:spMk id="15369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83"/>
          <ac:spMkLst>
            <pc:docMk/>
            <pc:sldMk cId="3703526171" sldId="2147479820"/>
            <ac:spMk id="15370" creationId="{00000000-0000-0000-0000-000000000000}"/>
          </ac:spMkLst>
        </pc:spChg>
        <pc:spChg chg="mod">
          <ac:chgData name="Oscar Llorente Gonzalez" userId="e1d48c7f-7de1-49f5-ba88-07a54202ac7d" providerId="ADAL" clId="{5A80F24B-A99F-4C5F-80FB-BB877AB3CE9A}" dt="2024-07-26T12:28:43.077" v="1385"/>
          <ac:spMkLst>
            <pc:docMk/>
            <pc:sldMk cId="3703526171" sldId="2147479820"/>
            <ac:spMk id="15371" creationId="{00000000-0000-0000-0000-000000000000}"/>
          </ac:spMkLst>
        </pc:spChg>
      </pc:sldChg>
      <pc:sldChg chg="modSp add del mod">
        <pc:chgData name="Oscar Llorente Gonzalez" userId="e1d48c7f-7de1-49f5-ba88-07a54202ac7d" providerId="ADAL" clId="{5A80F24B-A99F-4C5F-80FB-BB877AB3CE9A}" dt="2024-07-26T12:30:00.657" v="1629" actId="47"/>
        <pc:sldMkLst>
          <pc:docMk/>
          <pc:sldMk cId="1329154011" sldId="2147479821"/>
        </pc:sldMkLst>
        <pc:spChg chg="mod">
          <ac:chgData name="Oscar Llorente Gonzalez" userId="e1d48c7f-7de1-49f5-ba88-07a54202ac7d" providerId="ADAL" clId="{5A80F24B-A99F-4C5F-80FB-BB877AB3CE9A}" dt="2024-07-26T12:29:35.203" v="1474"/>
          <ac:spMkLst>
            <pc:docMk/>
            <pc:sldMk cId="1329154011" sldId="2147479821"/>
            <ac:spMk id="2" creationId="{E26138F5-C4DE-4C30-AEDB-1EDE0482F2FE}"/>
          </ac:spMkLst>
        </pc:spChg>
        <pc:spChg chg="mod">
          <ac:chgData name="Oscar Llorente Gonzalez" userId="e1d48c7f-7de1-49f5-ba88-07a54202ac7d" providerId="ADAL" clId="{5A80F24B-A99F-4C5F-80FB-BB877AB3CE9A}" dt="2024-07-26T12:29:35.203" v="1476"/>
          <ac:spMkLst>
            <pc:docMk/>
            <pc:sldMk cId="1329154011" sldId="2147479821"/>
            <ac:spMk id="4" creationId="{B5C50B58-CDFD-4154-9F48-3B2D343248EA}"/>
          </ac:spMkLst>
        </pc:spChg>
        <pc:spChg chg="mod">
          <ac:chgData name="Oscar Llorente Gonzalez" userId="e1d48c7f-7de1-49f5-ba88-07a54202ac7d" providerId="ADAL" clId="{5A80F24B-A99F-4C5F-80FB-BB877AB3CE9A}" dt="2024-07-26T12:29:35.203" v="1478"/>
          <ac:spMkLst>
            <pc:docMk/>
            <pc:sldMk cId="1329154011" sldId="2147479821"/>
            <ac:spMk id="5" creationId="{1DC51A7C-9841-4661-8A93-50B476DCC097}"/>
          </ac:spMkLst>
        </pc:spChg>
        <pc:spChg chg="mod">
          <ac:chgData name="Oscar Llorente Gonzalez" userId="e1d48c7f-7de1-49f5-ba88-07a54202ac7d" providerId="ADAL" clId="{5A80F24B-A99F-4C5F-80FB-BB877AB3CE9A}" dt="2024-07-26T12:29:35.203" v="1480"/>
          <ac:spMkLst>
            <pc:docMk/>
            <pc:sldMk cId="1329154011" sldId="2147479821"/>
            <ac:spMk id="6" creationId="{6F289DD3-FD35-4758-A3FF-A48654478F99}"/>
          </ac:spMkLst>
        </pc:spChg>
        <pc:grpChg chg="mod">
          <ac:chgData name="Oscar Llorente Gonzalez" userId="e1d48c7f-7de1-49f5-ba88-07a54202ac7d" providerId="ADAL" clId="{5A80F24B-A99F-4C5F-80FB-BB877AB3CE9A}" dt="2024-07-26T12:29:35.203" v="1482"/>
          <ac:grpSpMkLst>
            <pc:docMk/>
            <pc:sldMk cId="1329154011" sldId="2147479821"/>
            <ac:grpSpMk id="3" creationId="{BF1657AE-4625-453F-BF46-6ACCC204DE2B}"/>
          </ac:grpSpMkLst>
        </pc:grpChg>
        <pc:picChg chg="mod modCrop">
          <ac:chgData name="Oscar Llorente Gonzalez" userId="e1d48c7f-7de1-49f5-ba88-07a54202ac7d" providerId="ADAL" clId="{5A80F24B-A99F-4C5F-80FB-BB877AB3CE9A}" dt="2024-07-26T12:29:35.203" v="1472"/>
          <ac:picMkLst>
            <pc:docMk/>
            <pc:sldMk cId="1329154011" sldId="2147479821"/>
            <ac:picMk id="8" creationId="{63C63C4A-7B76-44EE-9DF7-E7390B825D9D}"/>
          </ac:picMkLst>
        </pc:picChg>
      </pc:sldChg>
      <pc:sldChg chg="modSp new del mod">
        <pc:chgData name="Oscar Llorente Gonzalez" userId="e1d48c7f-7de1-49f5-ba88-07a54202ac7d" providerId="ADAL" clId="{5A80F24B-A99F-4C5F-80FB-BB877AB3CE9A}" dt="2024-07-26T12:51:48.485" v="2405" actId="47"/>
        <pc:sldMkLst>
          <pc:docMk/>
          <pc:sldMk cId="2779079743" sldId="2147479821"/>
        </pc:sldMkLst>
        <pc:spChg chg="mod">
          <ac:chgData name="Oscar Llorente Gonzalez" userId="e1d48c7f-7de1-49f5-ba88-07a54202ac7d" providerId="ADAL" clId="{5A80F24B-A99F-4C5F-80FB-BB877AB3CE9A}" dt="2024-07-26T12:47:46.010" v="2023" actId="20577"/>
          <ac:spMkLst>
            <pc:docMk/>
            <pc:sldMk cId="2779079743" sldId="2147479821"/>
            <ac:spMk id="2" creationId="{3FB9DCF8-68B6-869B-7F86-A41C5FE5FCEB}"/>
          </ac:spMkLst>
        </pc:spChg>
      </pc:sldChg>
      <pc:sldChg chg="addSp delSp modSp new mod modClrScheme chgLayout">
        <pc:chgData name="Oscar Llorente Gonzalez" userId="e1d48c7f-7de1-49f5-ba88-07a54202ac7d" providerId="ADAL" clId="{5A80F24B-A99F-4C5F-80FB-BB877AB3CE9A}" dt="2024-07-26T12:52:03.767" v="2412" actId="20577"/>
        <pc:sldMkLst>
          <pc:docMk/>
          <pc:sldMk cId="1646425188" sldId="2147479822"/>
        </pc:sldMkLst>
        <pc:spChg chg="mod">
          <ac:chgData name="Oscar Llorente Gonzalez" userId="e1d48c7f-7de1-49f5-ba88-07a54202ac7d" providerId="ADAL" clId="{5A80F24B-A99F-4C5F-80FB-BB877AB3CE9A}" dt="2024-07-26T12:51:17.955" v="2366" actId="20577"/>
          <ac:spMkLst>
            <pc:docMk/>
            <pc:sldMk cId="1646425188" sldId="2147479822"/>
            <ac:spMk id="2" creationId="{4537B858-EF20-185F-CA37-675B9493AAE1}"/>
          </ac:spMkLst>
        </pc:spChg>
        <pc:spChg chg="add del mod">
          <ac:chgData name="Oscar Llorente Gonzalez" userId="e1d48c7f-7de1-49f5-ba88-07a54202ac7d" providerId="ADAL" clId="{5A80F24B-A99F-4C5F-80FB-BB877AB3CE9A}" dt="2024-07-26T12:50:22.861" v="2327" actId="26606"/>
          <ac:spMkLst>
            <pc:docMk/>
            <pc:sldMk cId="1646425188" sldId="2147479822"/>
            <ac:spMk id="7" creationId="{9E8931EF-CAE5-C5FA-31F8-B16C7571E303}"/>
          </ac:spMkLst>
        </pc:spChg>
        <pc:spChg chg="add del mod">
          <ac:chgData name="Oscar Llorente Gonzalez" userId="e1d48c7f-7de1-49f5-ba88-07a54202ac7d" providerId="ADAL" clId="{5A80F24B-A99F-4C5F-80FB-BB877AB3CE9A}" dt="2024-07-26T12:50:30.429" v="2328" actId="26606"/>
          <ac:spMkLst>
            <pc:docMk/>
            <pc:sldMk cId="1646425188" sldId="2147479822"/>
            <ac:spMk id="13" creationId="{AD60CDF6-E6A0-D11C-B3AB-4613F8DA8769}"/>
          </ac:spMkLst>
        </pc:spChg>
        <pc:graphicFrameChg chg="add mod modGraphic">
          <ac:chgData name="Oscar Llorente Gonzalez" userId="e1d48c7f-7de1-49f5-ba88-07a54202ac7d" providerId="ADAL" clId="{5A80F24B-A99F-4C5F-80FB-BB877AB3CE9A}" dt="2024-07-26T12:52:03.767" v="2412" actId="20577"/>
          <ac:graphicFrameMkLst>
            <pc:docMk/>
            <pc:sldMk cId="1646425188" sldId="2147479822"/>
            <ac:graphicFrameMk id="9" creationId="{4426EE00-0E30-800C-ACC7-F2162A0D566E}"/>
          </ac:graphicFrameMkLst>
        </pc:graphicFrameChg>
      </pc:sldChg>
      <pc:sldChg chg="modSp add del mod">
        <pc:chgData name="Oscar Llorente Gonzalez" userId="e1d48c7f-7de1-49f5-ba88-07a54202ac7d" providerId="ADAL" clId="{5A80F24B-A99F-4C5F-80FB-BB877AB3CE9A}" dt="2024-07-26T12:30:01.149" v="1630" actId="47"/>
        <pc:sldMkLst>
          <pc:docMk/>
          <pc:sldMk cId="2428114657" sldId="2147479822"/>
        </pc:sldMkLst>
        <pc:grpChg chg="mod">
          <ac:chgData name="Oscar Llorente Gonzalez" userId="e1d48c7f-7de1-49f5-ba88-07a54202ac7d" providerId="ADAL" clId="{5A80F24B-A99F-4C5F-80FB-BB877AB3CE9A}" dt="2024-07-26T12:29:37.526" v="1520"/>
          <ac:grpSpMkLst>
            <pc:docMk/>
            <pc:sldMk cId="2428114657" sldId="2147479822"/>
            <ac:grpSpMk id="10" creationId="{8E2E57A7-0575-4DBF-90C7-E2FFCA66BE69}"/>
          </ac:grpSpMkLst>
        </pc:grpChg>
        <pc:grpChg chg="mod">
          <ac:chgData name="Oscar Llorente Gonzalez" userId="e1d48c7f-7de1-49f5-ba88-07a54202ac7d" providerId="ADAL" clId="{5A80F24B-A99F-4C5F-80FB-BB877AB3CE9A}" dt="2024-07-26T12:29:37.526" v="1518"/>
          <ac:grpSpMkLst>
            <pc:docMk/>
            <pc:sldMk cId="2428114657" sldId="2147479822"/>
            <ac:grpSpMk id="11" creationId="{90B3BE95-2654-457C-AD1C-EAE90F0606A0}"/>
          </ac:grpSpMkLst>
        </pc:grpChg>
        <pc:picChg chg="mod modCrop">
          <ac:chgData name="Oscar Llorente Gonzalez" userId="e1d48c7f-7de1-49f5-ba88-07a54202ac7d" providerId="ADAL" clId="{5A80F24B-A99F-4C5F-80FB-BB877AB3CE9A}" dt="2024-07-26T12:29:37.526" v="1514"/>
          <ac:picMkLst>
            <pc:docMk/>
            <pc:sldMk cId="2428114657" sldId="2147479822"/>
            <ac:picMk id="6" creationId="{3FD59509-82D8-4B6D-8867-8A85B2A89164}"/>
          </ac:picMkLst>
        </pc:picChg>
        <pc:picChg chg="mod">
          <ac:chgData name="Oscar Llorente Gonzalez" userId="e1d48c7f-7de1-49f5-ba88-07a54202ac7d" providerId="ADAL" clId="{5A80F24B-A99F-4C5F-80FB-BB877AB3CE9A}" dt="2024-07-26T12:29:37.526" v="1516"/>
          <ac:picMkLst>
            <pc:docMk/>
            <pc:sldMk cId="2428114657" sldId="2147479822"/>
            <ac:picMk id="26" creationId="{5B83CE1A-F55A-4B73-ACC7-8DFB23BD88E7}"/>
          </ac:picMkLst>
        </pc:picChg>
      </pc:sldChg>
      <pc:sldChg chg="modSp add del mod">
        <pc:chgData name="Oscar Llorente Gonzalez" userId="e1d48c7f-7de1-49f5-ba88-07a54202ac7d" providerId="ADAL" clId="{5A80F24B-A99F-4C5F-80FB-BB877AB3CE9A}" dt="2024-07-26T12:30:01.699" v="1631" actId="47"/>
        <pc:sldMkLst>
          <pc:docMk/>
          <pc:sldMk cId="4271123924" sldId="2147479823"/>
        </pc:sldMkLst>
        <pc:spChg chg="mod">
          <ac:chgData name="Oscar Llorente Gonzalez" userId="e1d48c7f-7de1-49f5-ba88-07a54202ac7d" providerId="ADAL" clId="{5A80F24B-A99F-4C5F-80FB-BB877AB3CE9A}" dt="2024-07-26T12:29:42.273" v="1564"/>
          <ac:spMkLst>
            <pc:docMk/>
            <pc:sldMk cId="4271123924" sldId="2147479823"/>
            <ac:spMk id="2" creationId="{DA5023BE-B8D0-4171-9037-E94636CAA33F}"/>
          </ac:spMkLst>
        </pc:spChg>
        <pc:spChg chg="mod">
          <ac:chgData name="Oscar Llorente Gonzalez" userId="e1d48c7f-7de1-49f5-ba88-07a54202ac7d" providerId="ADAL" clId="{5A80F24B-A99F-4C5F-80FB-BB877AB3CE9A}" dt="2024-07-26T12:29:42.264" v="1556"/>
          <ac:spMkLst>
            <pc:docMk/>
            <pc:sldMk cId="4271123924" sldId="2147479823"/>
            <ac:spMk id="4" creationId="{99186417-7C84-4161-84C8-A9B4FDC80ADE}"/>
          </ac:spMkLst>
        </pc:spChg>
        <pc:spChg chg="mod">
          <ac:chgData name="Oscar Llorente Gonzalez" userId="e1d48c7f-7de1-49f5-ba88-07a54202ac7d" providerId="ADAL" clId="{5A80F24B-A99F-4C5F-80FB-BB877AB3CE9A}" dt="2024-07-26T12:29:42.264" v="1558"/>
          <ac:spMkLst>
            <pc:docMk/>
            <pc:sldMk cId="4271123924" sldId="2147479823"/>
            <ac:spMk id="13" creationId="{81270E55-A70F-4B5D-9E58-65552286CDEF}"/>
          </ac:spMkLst>
        </pc:spChg>
        <pc:spChg chg="mod">
          <ac:chgData name="Oscar Llorente Gonzalez" userId="e1d48c7f-7de1-49f5-ba88-07a54202ac7d" providerId="ADAL" clId="{5A80F24B-A99F-4C5F-80FB-BB877AB3CE9A}" dt="2024-07-26T12:29:42.264" v="1560"/>
          <ac:spMkLst>
            <pc:docMk/>
            <pc:sldMk cId="4271123924" sldId="2147479823"/>
            <ac:spMk id="14" creationId="{6CC6CA4D-D8B2-40B9-ADB7-66E9EF1885CF}"/>
          </ac:spMkLst>
        </pc:spChg>
        <pc:spChg chg="mod">
          <ac:chgData name="Oscar Llorente Gonzalez" userId="e1d48c7f-7de1-49f5-ba88-07a54202ac7d" providerId="ADAL" clId="{5A80F24B-A99F-4C5F-80FB-BB877AB3CE9A}" dt="2024-07-26T12:29:42.273" v="1562"/>
          <ac:spMkLst>
            <pc:docMk/>
            <pc:sldMk cId="4271123924" sldId="2147479823"/>
            <ac:spMk id="15" creationId="{9313D0A8-BFB0-4EF6-9B07-F5F86E8A6049}"/>
          </ac:spMkLst>
        </pc:spChg>
        <pc:spChg chg="mod">
          <ac:chgData name="Oscar Llorente Gonzalez" userId="e1d48c7f-7de1-49f5-ba88-07a54202ac7d" providerId="ADAL" clId="{5A80F24B-A99F-4C5F-80FB-BB877AB3CE9A}" dt="2024-07-26T12:29:42.264" v="1554"/>
          <ac:spMkLst>
            <pc:docMk/>
            <pc:sldMk cId="4271123924" sldId="2147479823"/>
            <ac:spMk id="22" creationId="{00000000-0000-0000-0000-000000000000}"/>
          </ac:spMkLst>
        </pc:spChg>
        <pc:grpChg chg="mod">
          <ac:chgData name="Oscar Llorente Gonzalez" userId="e1d48c7f-7de1-49f5-ba88-07a54202ac7d" providerId="ADAL" clId="{5A80F24B-A99F-4C5F-80FB-BB877AB3CE9A}" dt="2024-07-26T12:29:42.273" v="1566"/>
          <ac:grpSpMkLst>
            <pc:docMk/>
            <pc:sldMk cId="4271123924" sldId="2147479823"/>
            <ac:grpSpMk id="3" creationId="{6555F43B-11EE-4F50-92A6-7414B816CC6A}"/>
          </ac:grpSpMkLst>
        </pc:grpChg>
        <pc:picChg chg="mod modCrop">
          <ac:chgData name="Oscar Llorente Gonzalez" userId="e1d48c7f-7de1-49f5-ba88-07a54202ac7d" providerId="ADAL" clId="{5A80F24B-A99F-4C5F-80FB-BB877AB3CE9A}" dt="2024-07-26T12:29:42.264" v="1552"/>
          <ac:picMkLst>
            <pc:docMk/>
            <pc:sldMk cId="4271123924" sldId="2147479823"/>
            <ac:picMk id="27" creationId="{00000000-0000-0000-0000-000000000000}"/>
          </ac:picMkLst>
        </pc:picChg>
      </pc:sldChg>
      <pc:sldChg chg="modSp add del mod">
        <pc:chgData name="Oscar Llorente Gonzalez" userId="e1d48c7f-7de1-49f5-ba88-07a54202ac7d" providerId="ADAL" clId="{5A80F24B-A99F-4C5F-80FB-BB877AB3CE9A}" dt="2024-07-26T12:30:02.368" v="1632" actId="47"/>
        <pc:sldMkLst>
          <pc:docMk/>
          <pc:sldMk cId="424221905" sldId="2147479824"/>
        </pc:sldMkLst>
        <pc:spChg chg="mod">
          <ac:chgData name="Oscar Llorente Gonzalez" userId="e1d48c7f-7de1-49f5-ba88-07a54202ac7d" providerId="ADAL" clId="{5A80F24B-A99F-4C5F-80FB-BB877AB3CE9A}" dt="2024-07-26T12:29:45.592" v="1599"/>
          <ac:spMkLst>
            <pc:docMk/>
            <pc:sldMk cId="424221905" sldId="2147479824"/>
            <ac:spMk id="3" creationId="{88ECDD41-D15C-4811-A2A2-F57DF3047772}"/>
          </ac:spMkLst>
        </pc:spChg>
        <pc:spChg chg="mod">
          <ac:chgData name="Oscar Llorente Gonzalez" userId="e1d48c7f-7de1-49f5-ba88-07a54202ac7d" providerId="ADAL" clId="{5A80F24B-A99F-4C5F-80FB-BB877AB3CE9A}" dt="2024-07-26T12:29:45.592" v="1601"/>
          <ac:spMkLst>
            <pc:docMk/>
            <pc:sldMk cId="424221905" sldId="2147479824"/>
            <ac:spMk id="21" creationId="{D90434F6-82DA-4BB6-A65F-D22B7236D3BD}"/>
          </ac:spMkLst>
        </pc:spChg>
        <pc:spChg chg="mod">
          <ac:chgData name="Oscar Llorente Gonzalez" userId="e1d48c7f-7de1-49f5-ba88-07a54202ac7d" providerId="ADAL" clId="{5A80F24B-A99F-4C5F-80FB-BB877AB3CE9A}" dt="2024-07-26T12:29:45.592" v="1603"/>
          <ac:spMkLst>
            <pc:docMk/>
            <pc:sldMk cId="424221905" sldId="2147479824"/>
            <ac:spMk id="22" creationId="{C912891F-FC11-4E3C-98F8-5BA55DEB7D32}"/>
          </ac:spMkLst>
        </pc:spChg>
        <pc:spChg chg="mod">
          <ac:chgData name="Oscar Llorente Gonzalez" userId="e1d48c7f-7de1-49f5-ba88-07a54202ac7d" providerId="ADAL" clId="{5A80F24B-A99F-4C5F-80FB-BB877AB3CE9A}" dt="2024-07-26T12:29:45.592" v="1605"/>
          <ac:spMkLst>
            <pc:docMk/>
            <pc:sldMk cId="424221905" sldId="2147479824"/>
            <ac:spMk id="23" creationId="{4AA06DFF-6460-48A2-84A9-288BF71AD0E4}"/>
          </ac:spMkLst>
        </pc:spChg>
        <pc:spChg chg="mod">
          <ac:chgData name="Oscar Llorente Gonzalez" userId="e1d48c7f-7de1-49f5-ba88-07a54202ac7d" providerId="ADAL" clId="{5A80F24B-A99F-4C5F-80FB-BB877AB3CE9A}" dt="2024-07-26T12:29:45.592" v="1607"/>
          <ac:spMkLst>
            <pc:docMk/>
            <pc:sldMk cId="424221905" sldId="2147479824"/>
            <ac:spMk id="24" creationId="{48AB315A-7A43-47FD-A496-42DC0BC8C88E}"/>
          </ac:spMkLst>
        </pc:spChg>
        <pc:spChg chg="mod">
          <ac:chgData name="Oscar Llorente Gonzalez" userId="e1d48c7f-7de1-49f5-ba88-07a54202ac7d" providerId="ADAL" clId="{5A80F24B-A99F-4C5F-80FB-BB877AB3CE9A}" dt="2024-07-26T12:29:45.600" v="1609"/>
          <ac:spMkLst>
            <pc:docMk/>
            <pc:sldMk cId="424221905" sldId="2147479824"/>
            <ac:spMk id="25" creationId="{CD6B4EAF-FB59-4276-A1D1-31A48C593DAE}"/>
          </ac:spMkLst>
        </pc:spChg>
        <pc:spChg chg="mod">
          <ac:chgData name="Oscar Llorente Gonzalez" userId="e1d48c7f-7de1-49f5-ba88-07a54202ac7d" providerId="ADAL" clId="{5A80F24B-A99F-4C5F-80FB-BB877AB3CE9A}" dt="2024-07-26T12:29:45.600" v="1611"/>
          <ac:spMkLst>
            <pc:docMk/>
            <pc:sldMk cId="424221905" sldId="2147479824"/>
            <ac:spMk id="26" creationId="{345520C5-1DA5-459E-880D-7C609E5B63E7}"/>
          </ac:spMkLst>
        </pc:spChg>
        <pc:spChg chg="mod">
          <ac:chgData name="Oscar Llorente Gonzalez" userId="e1d48c7f-7de1-49f5-ba88-07a54202ac7d" providerId="ADAL" clId="{5A80F24B-A99F-4C5F-80FB-BB877AB3CE9A}" dt="2024-07-26T12:29:45.600" v="1613"/>
          <ac:spMkLst>
            <pc:docMk/>
            <pc:sldMk cId="424221905" sldId="2147479824"/>
            <ac:spMk id="27" creationId="{B76534BC-0715-44C6-BA0D-6794A89C806D}"/>
          </ac:spMkLst>
        </pc:spChg>
        <pc:spChg chg="mod">
          <ac:chgData name="Oscar Llorente Gonzalez" userId="e1d48c7f-7de1-49f5-ba88-07a54202ac7d" providerId="ADAL" clId="{5A80F24B-A99F-4C5F-80FB-BB877AB3CE9A}" dt="2024-07-26T12:29:45.600" v="1615"/>
          <ac:spMkLst>
            <pc:docMk/>
            <pc:sldMk cId="424221905" sldId="2147479824"/>
            <ac:spMk id="28" creationId="{3B4215B7-D3A0-400C-8151-C3E6C5666A72}"/>
          </ac:spMkLst>
        </pc:spChg>
        <pc:grpChg chg="mod">
          <ac:chgData name="Oscar Llorente Gonzalez" userId="e1d48c7f-7de1-49f5-ba88-07a54202ac7d" providerId="ADAL" clId="{5A80F24B-A99F-4C5F-80FB-BB877AB3CE9A}" dt="2024-07-26T12:29:45.592" v="1597"/>
          <ac:grpSpMkLst>
            <pc:docMk/>
            <pc:sldMk cId="424221905" sldId="2147479824"/>
            <ac:grpSpMk id="15" creationId="{7560F7CD-BC3D-4C2B-999A-FF94AF4A5B0A}"/>
          </ac:grpSpMkLst>
        </pc:grpChg>
        <pc:picChg chg="mod modCrop">
          <ac:chgData name="Oscar Llorente Gonzalez" userId="e1d48c7f-7de1-49f5-ba88-07a54202ac7d" providerId="ADAL" clId="{5A80F24B-A99F-4C5F-80FB-BB877AB3CE9A}" dt="2024-07-26T12:29:45.600" v="1618"/>
          <ac:picMkLst>
            <pc:docMk/>
            <pc:sldMk cId="424221905" sldId="2147479824"/>
            <ac:picMk id="33" creationId="{8946942E-FEED-48D5-9B93-4BF39BADF34A}"/>
          </ac:picMkLst>
        </pc:picChg>
        <pc:picChg chg="mod modCrop">
          <ac:chgData name="Oscar Llorente Gonzalez" userId="e1d48c7f-7de1-49f5-ba88-07a54202ac7d" providerId="ADAL" clId="{5A80F24B-A99F-4C5F-80FB-BB877AB3CE9A}" dt="2024-07-26T12:29:45.600" v="1621"/>
          <ac:picMkLst>
            <pc:docMk/>
            <pc:sldMk cId="424221905" sldId="2147479824"/>
            <ac:picMk id="34" creationId="{1B26DD51-CAE0-48EC-AB86-05BE458D6846}"/>
          </ac:picMkLst>
        </pc:picChg>
        <pc:picChg chg="mod modCrop">
          <ac:chgData name="Oscar Llorente Gonzalez" userId="e1d48c7f-7de1-49f5-ba88-07a54202ac7d" providerId="ADAL" clId="{5A80F24B-A99F-4C5F-80FB-BB877AB3CE9A}" dt="2024-07-26T12:29:45.611" v="1624"/>
          <ac:picMkLst>
            <pc:docMk/>
            <pc:sldMk cId="424221905" sldId="2147479824"/>
            <ac:picMk id="35" creationId="{947621D8-0519-4163-BAA1-A7DD788FFA5E}"/>
          </ac:picMkLst>
        </pc:picChg>
        <pc:picChg chg="mod modCrop">
          <ac:chgData name="Oscar Llorente Gonzalez" userId="e1d48c7f-7de1-49f5-ba88-07a54202ac7d" providerId="ADAL" clId="{5A80F24B-A99F-4C5F-80FB-BB877AB3CE9A}" dt="2024-07-26T12:29:45.614" v="1627"/>
          <ac:picMkLst>
            <pc:docMk/>
            <pc:sldMk cId="424221905" sldId="2147479824"/>
            <ac:picMk id="36" creationId="{6EF15805-5C5C-42F5-BB5C-4E923CAE1486}"/>
          </ac:picMkLst>
        </pc:picChg>
      </pc:sldChg>
      <pc:sldMasterChg chg="modSldLayout">
        <pc:chgData name="Oscar Llorente Gonzalez" userId="e1d48c7f-7de1-49f5-ba88-07a54202ac7d" providerId="ADAL" clId="{5A80F24B-A99F-4C5F-80FB-BB877AB3CE9A}" dt="2024-07-26T12:29:45.564" v="1591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5A80F24B-A99F-4C5F-80FB-BB877AB3CE9A}" dt="2024-07-26T12:29:45.539" v="1583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5A80F24B-A99F-4C5F-80FB-BB877AB3CE9A}" dt="2024-07-26T12:29:45.539" v="1583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5A80F24B-A99F-4C5F-80FB-BB877AB3CE9A}" dt="2024-07-26T12:29:45.564" v="1591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5A80F24B-A99F-4C5F-80FB-BB877AB3CE9A}" dt="2024-07-26T12:29:45.564" v="1591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5A80F24B-A99F-4C5F-80FB-BB877AB3CE9A}" dt="2024-07-26T12:29:45.555" v="1587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5A80F24B-A99F-4C5F-80FB-BB877AB3CE9A}" dt="2024-07-26T12:29:45.555" v="1587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</pc:sldMasterChg>
      <pc:sldMasterChg chg="modSldLayout">
        <pc:chgData name="Oscar Llorente Gonzalez" userId="e1d48c7f-7de1-49f5-ba88-07a54202ac7d" providerId="ADAL" clId="{5A80F24B-A99F-4C5F-80FB-BB877AB3CE9A}" dt="2024-07-26T12:29:45.586" v="1595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5A80F24B-A99F-4C5F-80FB-BB877AB3CE9A}" dt="2024-07-26T12:29:45.586" v="1595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5A80F24B-A99F-4C5F-80FB-BB877AB3CE9A}" dt="2024-07-26T12:29:45.586" v="1595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</pc:sldMasterChg>
    </pc:docChg>
  </pc:docChgLst>
  <pc:docChgLst>
    <pc:chgData name="Oscar Llorente Gonzalez" userId="e1d48c7f-7de1-49f5-ba88-07a54202ac7d" providerId="ADAL" clId="{184170BE-2AED-4E74-9AE7-90F0F0C69451}"/>
    <pc:docChg chg="custSel modSld modMainMaster">
      <pc:chgData name="Oscar Llorente Gonzalez" userId="e1d48c7f-7de1-49f5-ba88-07a54202ac7d" providerId="ADAL" clId="{184170BE-2AED-4E74-9AE7-90F0F0C69451}" dt="2024-03-19T21:59:01.608" v="20" actId="167"/>
      <pc:docMkLst>
        <pc:docMk/>
      </pc:docMkLst>
      <pc:sldChg chg="addSp delSp modSp mod">
        <pc:chgData name="Oscar Llorente Gonzalez" userId="e1d48c7f-7de1-49f5-ba88-07a54202ac7d" providerId="ADAL" clId="{184170BE-2AED-4E74-9AE7-90F0F0C69451}" dt="2024-03-19T21:59:01.608" v="20" actId="167"/>
        <pc:sldMkLst>
          <pc:docMk/>
          <pc:sldMk cId="4045496690" sldId="2147479797"/>
        </pc:sldMkLst>
        <pc:picChg chg="add del mod">
          <ac:chgData name="Oscar Llorente Gonzalez" userId="e1d48c7f-7de1-49f5-ba88-07a54202ac7d" providerId="ADAL" clId="{184170BE-2AED-4E74-9AE7-90F0F0C69451}" dt="2024-03-19T21:58:54.786" v="17"/>
          <ac:picMkLst>
            <pc:docMk/>
            <pc:sldMk cId="4045496690" sldId="2147479797"/>
            <ac:picMk id="2" creationId="{76C6B461-A739-EDFB-4684-DE19B9F51C7D}"/>
          </ac:picMkLst>
        </pc:picChg>
        <pc:picChg chg="add mod ord">
          <ac:chgData name="Oscar Llorente Gonzalez" userId="e1d48c7f-7de1-49f5-ba88-07a54202ac7d" providerId="ADAL" clId="{184170BE-2AED-4E74-9AE7-90F0F0C69451}" dt="2024-03-19T21:59:01.608" v="20" actId="167"/>
          <ac:picMkLst>
            <pc:docMk/>
            <pc:sldMk cId="4045496690" sldId="2147479797"/>
            <ac:picMk id="3" creationId="{39B628E1-BFC8-940F-19C5-7CC8A17236D7}"/>
          </ac:picMkLst>
        </pc:picChg>
        <pc:picChg chg="del">
          <ac:chgData name="Oscar Llorente Gonzalez" userId="e1d48c7f-7de1-49f5-ba88-07a54202ac7d" providerId="ADAL" clId="{184170BE-2AED-4E74-9AE7-90F0F0C69451}" dt="2024-03-19T21:58:56.419" v="18" actId="478"/>
          <ac:picMkLst>
            <pc:docMk/>
            <pc:sldMk cId="4045496690" sldId="2147479797"/>
            <ac:picMk id="4" creationId="{60D84E34-431F-1C35-24DD-A7B168A06F8A}"/>
          </ac:picMkLst>
        </pc:picChg>
      </pc:sldChg>
      <pc:sldMasterChg chg="modSldLayout">
        <pc:chgData name="Oscar Llorente Gonzalez" userId="e1d48c7f-7de1-49f5-ba88-07a54202ac7d" providerId="ADAL" clId="{184170BE-2AED-4E74-9AE7-90F0F0C69451}" dt="2024-03-19T21:58:38.718" v="11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184170BE-2AED-4E74-9AE7-90F0F0C69451}" dt="2024-03-19T21:58:38.690" v="3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184170BE-2AED-4E74-9AE7-90F0F0C69451}" dt="2024-03-19T21:58:38.690" v="3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184170BE-2AED-4E74-9AE7-90F0F0C69451}" dt="2024-03-19T21:58:38.718" v="11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184170BE-2AED-4E74-9AE7-90F0F0C69451}" dt="2024-03-19T21:58:38.718" v="11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184170BE-2AED-4E74-9AE7-90F0F0C69451}" dt="2024-03-19T21:58:38.703" v="7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184170BE-2AED-4E74-9AE7-90F0F0C69451}" dt="2024-03-19T21:58:38.703" v="7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</pc:sldMasterChg>
      <pc:sldMasterChg chg="modSldLayout">
        <pc:chgData name="Oscar Llorente Gonzalez" userId="e1d48c7f-7de1-49f5-ba88-07a54202ac7d" providerId="ADAL" clId="{184170BE-2AED-4E74-9AE7-90F0F0C69451}" dt="2024-03-19T21:58:38.759" v="15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184170BE-2AED-4E74-9AE7-90F0F0C69451}" dt="2024-03-19T21:58:38.759" v="15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184170BE-2AED-4E74-9AE7-90F0F0C69451}" dt="2024-03-19T21:58:38.759" v="15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</pc:sldMasterChg>
    </pc:docChg>
  </pc:docChgLst>
  <pc:docChgLst>
    <pc:chgData name="Oscar Llorente Gonzalez" userId="e1d48c7f-7de1-49f5-ba88-07a54202ac7d" providerId="ADAL" clId="{B4A7EE9B-6219-420E-9492-BE22A5D43567}"/>
    <pc:docChg chg="custSel modSld modMainMaster">
      <pc:chgData name="Oscar Llorente Gonzalez" userId="e1d48c7f-7de1-49f5-ba88-07a54202ac7d" providerId="ADAL" clId="{B4A7EE9B-6219-420E-9492-BE22A5D43567}" dt="2024-02-18T23:58:30.787" v="57" actId="14100"/>
      <pc:docMkLst>
        <pc:docMk/>
      </pc:docMkLst>
      <pc:sldChg chg="modSp mod">
        <pc:chgData name="Oscar Llorente Gonzalez" userId="e1d48c7f-7de1-49f5-ba88-07a54202ac7d" providerId="ADAL" clId="{B4A7EE9B-6219-420E-9492-BE22A5D43567}" dt="2024-02-18T23:58:04.696" v="34" actId="14100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B4A7EE9B-6219-420E-9492-BE22A5D43567}" dt="2024-02-18T23:58:04.696" v="34" actId="14100"/>
          <ac:spMkLst>
            <pc:docMk/>
            <pc:sldMk cId="46647062" sldId="2147479193"/>
            <ac:spMk id="23" creationId="{15695D72-E891-28A4-9B93-F7EB42BD3606}"/>
          </ac:spMkLst>
        </pc:spChg>
      </pc:sldChg>
      <pc:sldMasterChg chg="modSp mod modSldLayout">
        <pc:chgData name="Oscar Llorente Gonzalez" userId="e1d48c7f-7de1-49f5-ba88-07a54202ac7d" providerId="ADAL" clId="{B4A7EE9B-6219-420E-9492-BE22A5D43567}" dt="2024-02-18T23:58:30.787" v="57" actId="14100"/>
        <pc:sldMasterMkLst>
          <pc:docMk/>
          <pc:sldMasterMk cId="2523064765" sldId="2147483660"/>
        </pc:sldMasterMkLst>
        <pc:spChg chg="mod">
          <ac:chgData name="Oscar Llorente Gonzalez" userId="e1d48c7f-7de1-49f5-ba88-07a54202ac7d" providerId="ADAL" clId="{B4A7EE9B-6219-420E-9492-BE22A5D43567}" dt="2024-02-18T23:58:30.787" v="57" actId="14100"/>
          <ac:spMkLst>
            <pc:docMk/>
            <pc:sldMasterMk cId="2523064765" sldId="2147483660"/>
            <ac:spMk id="3" creationId="{0665815C-E6AB-667E-FD0B-272049406215}"/>
          </ac:spMkLst>
        </pc:spChg>
        <pc:sldLayoutChg chg="modSp mod">
          <pc:chgData name="Oscar Llorente Gonzalez" userId="e1d48c7f-7de1-49f5-ba88-07a54202ac7d" providerId="ADAL" clId="{B4A7EE9B-6219-420E-9492-BE22A5D43567}" dt="2024-02-18T23:57:13.074" v="3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B4A7EE9B-6219-420E-9492-BE22A5D43567}" dt="2024-02-18T23:57:13.074" v="3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B4A7EE9B-6219-420E-9492-BE22A5D43567}" dt="2024-02-18T23:57:13.109" v="11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B4A7EE9B-6219-420E-9492-BE22A5D43567}" dt="2024-02-18T23:57:13.109" v="11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B4A7EE9B-6219-420E-9492-BE22A5D43567}" dt="2024-02-18T23:57:13.091" v="7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B4A7EE9B-6219-420E-9492-BE22A5D43567}" dt="2024-02-18T23:57:13.091" v="7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</pc:sldMasterChg>
      <pc:sldMasterChg chg="modSldLayout">
        <pc:chgData name="Oscar Llorente Gonzalez" userId="e1d48c7f-7de1-49f5-ba88-07a54202ac7d" providerId="ADAL" clId="{B4A7EE9B-6219-420E-9492-BE22A5D43567}" dt="2024-02-18T23:57:25.465" v="17"/>
        <pc:sldMasterMkLst>
          <pc:docMk/>
          <pc:sldMasterMk cId="4061182373" sldId="2147483765"/>
        </pc:sldMasterMkLst>
        <pc:sldLayoutChg chg="addSp delSp modSp mod">
          <pc:chgData name="Oscar Llorente Gonzalez" userId="e1d48c7f-7de1-49f5-ba88-07a54202ac7d" providerId="ADAL" clId="{B4A7EE9B-6219-420E-9492-BE22A5D43567}" dt="2024-02-18T23:57:25.465" v="17"/>
          <pc:sldLayoutMkLst>
            <pc:docMk/>
            <pc:sldMasterMk cId="4061182373" sldId="2147483765"/>
            <pc:sldLayoutMk cId="1977142871" sldId="2147483767"/>
          </pc:sldLayoutMkLst>
          <pc:picChg chg="add mod">
            <ac:chgData name="Oscar Llorente Gonzalez" userId="e1d48c7f-7de1-49f5-ba88-07a54202ac7d" providerId="ADAL" clId="{B4A7EE9B-6219-420E-9492-BE22A5D43567}" dt="2024-02-18T23:57:25.465" v="17"/>
            <ac:picMkLst>
              <pc:docMk/>
              <pc:sldMasterMk cId="4061182373" sldId="2147483765"/>
              <pc:sldLayoutMk cId="1977142871" sldId="2147483767"/>
              <ac:picMk id="4" creationId="{4454C8FD-D113-2F67-6FBD-1B1E20B793B0}"/>
            </ac:picMkLst>
          </pc:picChg>
          <pc:picChg chg="del">
            <ac:chgData name="Oscar Llorente Gonzalez" userId="e1d48c7f-7de1-49f5-ba88-07a54202ac7d" providerId="ADAL" clId="{B4A7EE9B-6219-420E-9492-BE22A5D43567}" dt="2024-02-18T23:57:24.682" v="16" actId="478"/>
            <ac:picMkLst>
              <pc:docMk/>
              <pc:sldMasterMk cId="4061182373" sldId="2147483765"/>
              <pc:sldLayoutMk cId="1977142871" sldId="2147483767"/>
              <ac:picMk id="5" creationId="{FFA858B5-485B-E07B-7C3D-68ADB7EA4759}"/>
            </ac:picMkLst>
          </pc:picChg>
        </pc:sldLayoutChg>
        <pc:sldLayoutChg chg="modSp mod">
          <pc:chgData name="Oscar Llorente Gonzalez" userId="e1d48c7f-7de1-49f5-ba88-07a54202ac7d" providerId="ADAL" clId="{B4A7EE9B-6219-420E-9492-BE22A5D43567}" dt="2024-02-18T23:57:13.173" v="15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B4A7EE9B-6219-420E-9492-BE22A5D43567}" dt="2024-02-18T23:57:13.173" v="15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</pc:sldMasterChg>
    </pc:docChg>
  </pc:docChgLst>
  <pc:docChgLst>
    <pc:chgData name="Oscar Llorente Gonzalez" userId="e1d48c7f-7de1-49f5-ba88-07a54202ac7d" providerId="ADAL" clId="{5F27E416-C2E4-477D-BB94-0D2D4A98227C}"/>
    <pc:docChg chg="custSel addSld delSld modMainMaster modSection">
      <pc:chgData name="Oscar Llorente Gonzalez" userId="e1d48c7f-7de1-49f5-ba88-07a54202ac7d" providerId="ADAL" clId="{5F27E416-C2E4-477D-BB94-0D2D4A98227C}" dt="2024-09-25T22:39:01.082" v="20" actId="680"/>
      <pc:docMkLst>
        <pc:docMk/>
      </pc:docMkLst>
      <pc:sldChg chg="del">
        <pc:chgData name="Oscar Llorente Gonzalez" userId="e1d48c7f-7de1-49f5-ba88-07a54202ac7d" providerId="ADAL" clId="{5F27E416-C2E4-477D-BB94-0D2D4A98227C}" dt="2024-09-25T22:38:55.971" v="16" actId="47"/>
        <pc:sldMkLst>
          <pc:docMk/>
          <pc:sldMk cId="4062506516" sldId="2147479798"/>
        </pc:sldMkLst>
      </pc:sldChg>
      <pc:sldChg chg="del">
        <pc:chgData name="Oscar Llorente Gonzalez" userId="e1d48c7f-7de1-49f5-ba88-07a54202ac7d" providerId="ADAL" clId="{5F27E416-C2E4-477D-BB94-0D2D4A98227C}" dt="2024-09-25T22:38:56.544" v="17" actId="47"/>
        <pc:sldMkLst>
          <pc:docMk/>
          <pc:sldMk cId="1788028285" sldId="2147479809"/>
        </pc:sldMkLst>
      </pc:sldChg>
      <pc:sldChg chg="del">
        <pc:chgData name="Oscar Llorente Gonzalez" userId="e1d48c7f-7de1-49f5-ba88-07a54202ac7d" providerId="ADAL" clId="{5F27E416-C2E4-477D-BB94-0D2D4A98227C}" dt="2024-09-25T22:38:57.006" v="18" actId="47"/>
        <pc:sldMkLst>
          <pc:docMk/>
          <pc:sldMk cId="1340164199" sldId="2147479819"/>
        </pc:sldMkLst>
      </pc:sldChg>
      <pc:sldChg chg="del">
        <pc:chgData name="Oscar Llorente Gonzalez" userId="e1d48c7f-7de1-49f5-ba88-07a54202ac7d" providerId="ADAL" clId="{5F27E416-C2E4-477D-BB94-0D2D4A98227C}" dt="2024-09-25T22:38:57.456" v="19" actId="47"/>
        <pc:sldMkLst>
          <pc:docMk/>
          <pc:sldMk cId="3416463214" sldId="2147479820"/>
        </pc:sldMkLst>
      </pc:sldChg>
      <pc:sldChg chg="new">
        <pc:chgData name="Oscar Llorente Gonzalez" userId="e1d48c7f-7de1-49f5-ba88-07a54202ac7d" providerId="ADAL" clId="{5F27E416-C2E4-477D-BB94-0D2D4A98227C}" dt="2024-09-25T22:39:01.082" v="20" actId="680"/>
        <pc:sldMkLst>
          <pc:docMk/>
          <pc:sldMk cId="349078831" sldId="2147479823"/>
        </pc:sldMkLst>
      </pc:sldChg>
      <pc:sldMasterChg chg="modSldLayout">
        <pc:chgData name="Oscar Llorente Gonzalez" userId="e1d48c7f-7de1-49f5-ba88-07a54202ac7d" providerId="ADAL" clId="{5F27E416-C2E4-477D-BB94-0D2D4A98227C}" dt="2024-09-25T22:38:49.996" v="11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5F27E416-C2E4-477D-BB94-0D2D4A98227C}" dt="2024-09-25T22:38:49.972" v="3" actId="20577"/>
          <pc:sldLayoutMkLst>
            <pc:docMk/>
            <pc:sldMasterMk cId="2523064765" sldId="2147483660"/>
            <pc:sldLayoutMk cId="2275899235" sldId="2147483678"/>
          </pc:sldLayoutMkLst>
          <pc:spChg chg="mod">
            <ac:chgData name="Oscar Llorente Gonzalez" userId="e1d48c7f-7de1-49f5-ba88-07a54202ac7d" providerId="ADAL" clId="{5F27E416-C2E4-477D-BB94-0D2D4A98227C}" dt="2024-09-25T22:38:49.972" v="3" actId="20577"/>
            <ac:spMkLst>
              <pc:docMk/>
              <pc:sldMasterMk cId="2523064765" sldId="2147483660"/>
              <pc:sldLayoutMk cId="2275899235" sldId="2147483678"/>
              <ac:spMk id="11" creationId="{A55C34B4-681E-4FDA-A9BB-6BC31D94C8D6}"/>
            </ac:spMkLst>
          </pc:spChg>
        </pc:sldLayoutChg>
        <pc:sldLayoutChg chg="modSp mod">
          <pc:chgData name="Oscar Llorente Gonzalez" userId="e1d48c7f-7de1-49f5-ba88-07a54202ac7d" providerId="ADAL" clId="{5F27E416-C2E4-477D-BB94-0D2D4A98227C}" dt="2024-09-25T22:38:49.996" v="11" actId="20577"/>
          <pc:sldLayoutMkLst>
            <pc:docMk/>
            <pc:sldMasterMk cId="2523064765" sldId="2147483660"/>
            <pc:sldLayoutMk cId="1436988196" sldId="2147483681"/>
          </pc:sldLayoutMkLst>
          <pc:spChg chg="mod">
            <ac:chgData name="Oscar Llorente Gonzalez" userId="e1d48c7f-7de1-49f5-ba88-07a54202ac7d" providerId="ADAL" clId="{5F27E416-C2E4-477D-BB94-0D2D4A98227C}" dt="2024-09-25T22:38:49.996" v="11" actId="20577"/>
            <ac:spMkLst>
              <pc:docMk/>
              <pc:sldMasterMk cId="2523064765" sldId="2147483660"/>
              <pc:sldLayoutMk cId="1436988196" sldId="2147483681"/>
              <ac:spMk id="14" creationId="{089CBEB5-348B-49F3-8F8B-FDEE08950E37}"/>
            </ac:spMkLst>
          </pc:spChg>
        </pc:sldLayoutChg>
        <pc:sldLayoutChg chg="modSp mod">
          <pc:chgData name="Oscar Llorente Gonzalez" userId="e1d48c7f-7de1-49f5-ba88-07a54202ac7d" providerId="ADAL" clId="{5F27E416-C2E4-477D-BB94-0D2D4A98227C}" dt="2024-09-25T22:38:49.980" v="7" actId="20577"/>
          <pc:sldLayoutMkLst>
            <pc:docMk/>
            <pc:sldMasterMk cId="2523064765" sldId="2147483660"/>
            <pc:sldLayoutMk cId="2548612008" sldId="2147483690"/>
          </pc:sldLayoutMkLst>
          <pc:spChg chg="mod">
            <ac:chgData name="Oscar Llorente Gonzalez" userId="e1d48c7f-7de1-49f5-ba88-07a54202ac7d" providerId="ADAL" clId="{5F27E416-C2E4-477D-BB94-0D2D4A98227C}" dt="2024-09-25T22:38:49.980" v="7" actId="20577"/>
            <ac:spMkLst>
              <pc:docMk/>
              <pc:sldMasterMk cId="2523064765" sldId="2147483660"/>
              <pc:sldLayoutMk cId="2548612008" sldId="2147483690"/>
              <ac:spMk id="10" creationId="{549048C1-340D-44C4-857B-1B201EC9A7E7}"/>
            </ac:spMkLst>
          </pc:spChg>
        </pc:sldLayoutChg>
      </pc:sldMasterChg>
      <pc:sldMasterChg chg="modSldLayout">
        <pc:chgData name="Oscar Llorente Gonzalez" userId="e1d48c7f-7de1-49f5-ba88-07a54202ac7d" providerId="ADAL" clId="{5F27E416-C2E4-477D-BB94-0D2D4A98227C}" dt="2024-09-25T22:38:50.032" v="15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5F27E416-C2E4-477D-BB94-0D2D4A98227C}" dt="2024-09-25T22:38:50.032" v="15" actId="20577"/>
          <pc:sldLayoutMkLst>
            <pc:docMk/>
            <pc:sldMasterMk cId="4061182373" sldId="2147483765"/>
            <pc:sldLayoutMk cId="1967283423" sldId="2147483779"/>
          </pc:sldLayoutMkLst>
          <pc:spChg chg="mod">
            <ac:chgData name="Oscar Llorente Gonzalez" userId="e1d48c7f-7de1-49f5-ba88-07a54202ac7d" providerId="ADAL" clId="{5F27E416-C2E4-477D-BB94-0D2D4A98227C}" dt="2024-09-25T22:38:50.032" v="15" actId="20577"/>
            <ac:spMkLst>
              <pc:docMk/>
              <pc:sldMasterMk cId="4061182373" sldId="2147483765"/>
              <pc:sldLayoutMk cId="1967283423" sldId="2147483779"/>
              <ac:spMk id="8" creationId="{51373698-5BAD-06D6-A158-EF539C33C7ED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</a:rPr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9BC75-2359-4F98-918A-7033C92AD487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418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0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0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0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22.png"/><Relationship Id="rId4" Type="http://schemas.openxmlformats.org/officeDocument/2006/relationships/image" Target="../media/image18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DCBAE91A-0D66-407E-A95B-C3A02474A571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802F36AA-85B7-4F41-9421-C43E42E9330B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>
                <a:solidFill>
                  <a:schemeClr val="tx1"/>
                </a:solidFill>
                <a:latin typeface="+mn-lt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u="sng" err="1">
                <a:solidFill>
                  <a:schemeClr val="tx1"/>
                </a:solidFill>
                <a:latin typeface="+mn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n-lt"/>
              </a:rPr>
              <a:t>(Regular):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n-lt"/>
              </a:rPr>
              <a:t>EricssonHilda+Bold</a:t>
            </a:r>
            <a:r>
              <a:rPr lang="en-US" sz="1200" b="1" u="sng">
                <a:solidFill>
                  <a:schemeClr val="tx1"/>
                </a:solidFill>
                <a:latin typeface="+mn-lt"/>
              </a:rPr>
              <a:t>(Bold):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0470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FA898-C9FF-5941-05AE-581455B1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09192-E708-01E7-A68D-1003A7A06C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C76C92-C0F3-76A8-4AFB-8F9279B99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0CB33-71CA-4997-94A4-B3DC9049FEAA}" type="datetimeFigureOut">
              <a:rPr lang="en-US" smtClean="0"/>
              <a:t>20-Feb-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318F0-CEFF-3F8F-1457-AF4DFB312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4BF143-DFCF-EED0-CA5E-59E20D686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88145-6816-4A59-B2D4-D712992D10F6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EC327E55-9D6D-8BC7-1317-27A8232288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736" y="211659"/>
            <a:ext cx="818108" cy="81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171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186777384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0118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7978140" y="6264000"/>
            <a:ext cx="276650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pic>
        <p:nvPicPr>
          <p:cNvPr id="2" name="Picture 2" descr="Ericsson logo in transparent PNG and vectorized SVG formats">
            <a:extLst>
              <a:ext uri="{FF2B5EF4-FFF2-40B4-BE49-F238E27FC236}">
                <a16:creationId xmlns:a16="http://schemas.microsoft.com/office/drawing/2014/main" id="{0894968E-407B-1ACA-6FFF-45BD48CE3B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4442" y="172324"/>
            <a:ext cx="623449" cy="8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Droplets forming a molecular connection">
            <a:extLst>
              <a:ext uri="{FF2B5EF4-FFF2-40B4-BE49-F238E27FC236}">
                <a16:creationId xmlns:a16="http://schemas.microsoft.com/office/drawing/2014/main" id="{4454C8FD-D113-2F67-6FBD-1B1E20B79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53"/>
            <a:ext cx="12192000" cy="6852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14287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ocean floor&#10;&#10;Description automatically generated">
            <a:extLst>
              <a:ext uri="{FF2B5EF4-FFF2-40B4-BE49-F238E27FC236}">
                <a16:creationId xmlns:a16="http://schemas.microsoft.com/office/drawing/2014/main" id="{546323BF-0623-1BC8-A7A1-24F1717927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688DF1B-3DE1-61C1-2C4A-31DDBBEAA8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9549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0462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486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415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0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03795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5680762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2320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7737869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301390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9301390" cy="275410"/>
          </a:xfrm>
          <a:noFill/>
        </p:spPr>
        <p:txBody>
          <a:bodyPr anchor="ctr"/>
          <a:lstStyle>
            <a:lvl1pPr marL="0" indent="0">
              <a:buNone/>
              <a:defRPr sz="12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95661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74E2A4-3CE7-5AEC-F931-B2C987C7E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2" r="-82" b="15661"/>
          <a:stretch/>
        </p:blipFill>
        <p:spPr>
          <a:xfrm>
            <a:off x="0" y="0"/>
            <a:ext cx="12202004" cy="6858000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113067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9113067" cy="275410"/>
          </a:xfrm>
          <a:noFill/>
        </p:spPr>
        <p:txBody>
          <a:bodyPr anchor="ctr"/>
          <a:lstStyle>
            <a:lvl1pPr marL="0" indent="0">
              <a:buNone/>
              <a:defRPr sz="12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1081BBF-D5EC-5414-0644-DA18F9847F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3281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up to the sky&#10;&#10;Description automatically generated">
            <a:extLst>
              <a:ext uri="{FF2B5EF4-FFF2-40B4-BE49-F238E27FC236}">
                <a16:creationId xmlns:a16="http://schemas.microsoft.com/office/drawing/2014/main" id="{56813195-71E7-1603-B42D-4EC6B5101E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0BE8EFD-E32B-F652-5445-A922EFE188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3212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up to the sky&#10;&#10;Description automatically generated">
            <a:extLst>
              <a:ext uri="{FF2B5EF4-FFF2-40B4-BE49-F238E27FC236}">
                <a16:creationId xmlns:a16="http://schemas.microsoft.com/office/drawing/2014/main" id="{56813195-71E7-1603-B42D-4EC6B5101E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0BE8EFD-E32B-F652-5445-A922EFE188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489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SM">
            <a:extLst>
              <a:ext uri="{FF2B5EF4-FFF2-40B4-BE49-F238E27FC236}">
                <a16:creationId xmlns:a16="http://schemas.microsoft.com/office/drawing/2014/main" id="{0F9B8209-CCF1-AB91-A7B0-77233D650509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096F9AD-AA80-269C-F0AE-29E379000E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3385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E0D2D4F-D3BD-0854-24A7-D69C0CEF35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Title_SM">
            <a:extLst>
              <a:ext uri="{FF2B5EF4-FFF2-40B4-BE49-F238E27FC236}">
                <a16:creationId xmlns:a16="http://schemas.microsoft.com/office/drawing/2014/main" id="{4C620BA6-7A83-6FA7-2D46-9D2AAAA691F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A5FB52-B8A6-71F0-5DE9-138C642030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1373698-5BAD-06D6-A158-EF539C33C7ED}"/>
              </a:ext>
            </a:extLst>
          </p:cNvPr>
          <p:cNvSpPr txBox="1"/>
          <p:nvPr userDrawn="1"/>
        </p:nvSpPr>
        <p:spPr>
          <a:xfrm>
            <a:off x="396000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0B0BFD62-E257-4FCA-B906-B8FE6B7D9467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1967283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view of earth from space&#10;&#10;Description automatically generated with low confidence">
            <a:extLst>
              <a:ext uri="{FF2B5EF4-FFF2-40B4-BE49-F238E27FC236}">
                <a16:creationId xmlns:a16="http://schemas.microsoft.com/office/drawing/2014/main" id="{15115C58-5CA5-A3B2-1F84-741AD73E3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"/>
          <a:stretch/>
        </p:blipFill>
        <p:spPr>
          <a:xfrm>
            <a:off x="0" y="-1"/>
            <a:ext cx="12192000" cy="1682497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21CD10-E826-46DD-E1DB-04CA0DF1D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itle_SM">
            <a:extLst>
              <a:ext uri="{FF2B5EF4-FFF2-40B4-BE49-F238E27FC236}">
                <a16:creationId xmlns:a16="http://schemas.microsoft.com/office/drawing/2014/main" id="{9C4780AD-2BB2-96A0-D72C-90CC2FB9B21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301390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80C0F8-C0E2-12DB-B19C-705EC6B4E7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9301390" cy="275410"/>
          </a:xfrm>
          <a:noFill/>
        </p:spPr>
        <p:txBody>
          <a:bodyPr anchor="ctr"/>
          <a:lstStyle>
            <a:lvl1pPr marL="0" indent="0">
              <a:buNone/>
              <a:defRPr sz="1200" spc="0" baseline="0">
                <a:solidFill>
                  <a:schemeClr val="bg1"/>
                </a:solidFill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7185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474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view of earth from space&#10;&#10;Description automatically generated with low confidence">
            <a:extLst>
              <a:ext uri="{FF2B5EF4-FFF2-40B4-BE49-F238E27FC236}">
                <a16:creationId xmlns:a16="http://schemas.microsoft.com/office/drawing/2014/main" id="{15115C58-5CA5-A3B2-1F84-741AD73E3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"/>
          <a:stretch/>
        </p:blipFill>
        <p:spPr>
          <a:xfrm>
            <a:off x="0" y="-1"/>
            <a:ext cx="12192000" cy="1682497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365616" cy="61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21CD10-E826-46DD-E1DB-04CA0DF1D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52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59FF7B7-A5C2-19B9-A430-CF954A8738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349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1 colum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89785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1 colum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</p:spTree>
    <p:extLst>
      <p:ext uri="{BB962C8B-B14F-4D97-AF65-F5344CB8AC3E}">
        <p14:creationId xmlns:p14="http://schemas.microsoft.com/office/powerpoint/2010/main" val="24503008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86413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23712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042413"/>
            <a:ext cx="3528000" cy="419677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2040508"/>
            <a:ext cx="3528000" cy="419677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2040380"/>
            <a:ext cx="3528000" cy="419881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23492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042413"/>
            <a:ext cx="3528000" cy="4196779"/>
          </a:xfrm>
          <a:prstGeom prst="homePlate">
            <a:avLst>
              <a:gd name="adj" fmla="val 12080"/>
            </a:avLst>
          </a:prstGeom>
          <a:solidFill>
            <a:schemeClr val="tx1">
              <a:lumMod val="10000"/>
              <a:lumOff val="90000"/>
            </a:schemeClr>
          </a:solidFill>
        </p:spPr>
        <p:txBody>
          <a:bodyPr rIns="27432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3B9467-CBC0-BD8A-5299-5DB59A94F4D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32000" y="2042413"/>
            <a:ext cx="3528000" cy="4196779"/>
          </a:xfrm>
          <a:prstGeom prst="homePlate">
            <a:avLst>
              <a:gd name="adj" fmla="val 12080"/>
            </a:avLst>
          </a:prstGeom>
          <a:solidFill>
            <a:schemeClr val="tx1">
              <a:lumMod val="10000"/>
              <a:lumOff val="90000"/>
            </a:schemeClr>
          </a:solidFill>
        </p:spPr>
        <p:txBody>
          <a:bodyPr rIns="27432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054F290C-E952-8AF2-5372-454CB7C5A6E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2042413"/>
            <a:ext cx="3528000" cy="4196779"/>
          </a:xfrm>
          <a:prstGeom prst="homePlate">
            <a:avLst>
              <a:gd name="adj" fmla="val 12080"/>
            </a:avLst>
          </a:prstGeom>
          <a:solidFill>
            <a:schemeClr val="tx1">
              <a:lumMod val="10000"/>
              <a:lumOff val="90000"/>
            </a:schemeClr>
          </a:solidFill>
        </p:spPr>
        <p:txBody>
          <a:bodyPr rIns="27432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95308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560423"/>
            <a:ext cx="3528000" cy="367876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2558518"/>
            <a:ext cx="3528000" cy="367876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2558641"/>
            <a:ext cx="3528000" cy="3680552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399F3B-C8F9-3918-A82A-EF7A3AEE958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9425" y="1900870"/>
            <a:ext cx="3528000" cy="657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DE33588-B339-3FB5-5036-F0E7AECFB1D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32814" y="1900870"/>
            <a:ext cx="3528000" cy="657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E06EC4E5-0179-46D7-73B1-9C046D4BD84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84575" y="1900870"/>
            <a:ext cx="3528000" cy="657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</p:spTree>
    <p:extLst>
      <p:ext uri="{BB962C8B-B14F-4D97-AF65-F5344CB8AC3E}">
        <p14:creationId xmlns:p14="http://schemas.microsoft.com/office/powerpoint/2010/main" val="12418815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558580"/>
            <a:ext cx="2468880" cy="367876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370269" y="2558580"/>
            <a:ext cx="2468880" cy="367876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61113" y="2557688"/>
            <a:ext cx="2468880" cy="368055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399F3B-C8F9-3918-A82A-EF7A3AEE958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9425" y="1900870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DE33588-B339-3FB5-5036-F0E7AECFB1D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70269" y="1900870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E06EC4E5-0179-46D7-73B1-9C046D4BD84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61113" y="1900870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84C86EB-7453-9899-E7DD-8F8DD7E49A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151958" y="2557688"/>
            <a:ext cx="2468880" cy="368055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062BDF99-B191-A90F-0BA1-A9381092DFF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151958" y="1898964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</p:spTree>
    <p:extLst>
      <p:ext uri="{BB962C8B-B14F-4D97-AF65-F5344CB8AC3E}">
        <p14:creationId xmlns:p14="http://schemas.microsoft.com/office/powerpoint/2010/main" val="2111823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4815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26261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406289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7908" y="2489922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8145594" y="2489922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7908" y="4732865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8145594" y="4732865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312286" y="2489922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312286" y="4732865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2E671775-C10C-5AC5-FC4C-25C714D49E7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908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6AD54B3-2D5E-F77A-950D-4B2DA8A084A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45594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2D86FAC5-A046-C2FA-599A-A0D7BDBBAE5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12286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28A895C7-D6BD-272A-76C9-3F2FD462C4B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7908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ABC73BE-70CA-9030-C7D9-D86050186FF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45594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E4BCFD1B-4A21-29AC-7E81-0A8ABC32E0C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12286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</p:spTree>
    <p:extLst>
      <p:ext uri="{BB962C8B-B14F-4D97-AF65-F5344CB8AC3E}">
        <p14:creationId xmlns:p14="http://schemas.microsoft.com/office/powerpoint/2010/main" val="15346456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558689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7908" y="2489922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8145594" y="2489922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7908" y="4732865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8145594" y="4732865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312286" y="2489922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312286" y="4732865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2E671775-C10C-5AC5-FC4C-25C714D49E7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908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6AD54B3-2D5E-F77A-950D-4B2DA8A084A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45594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2D86FAC5-A046-C2FA-599A-A0D7BDBBAE5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12286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28A895C7-D6BD-272A-76C9-3F2FD462C4B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7908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ABC73BE-70CA-9030-C7D9-D86050186FF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45594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E4BCFD1B-4A21-29AC-7E81-0A8ABC32E0C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12286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</p:spTree>
    <p:extLst>
      <p:ext uri="{BB962C8B-B14F-4D97-AF65-F5344CB8AC3E}">
        <p14:creationId xmlns:p14="http://schemas.microsoft.com/office/powerpoint/2010/main" val="40412886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6453" y="2254303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38044" y="2254302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4pPr>
              <a:defRPr lang="en-US" sz="900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6453" y="4552223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38044" y="4552334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6180" y="2254302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56180" y="4552950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17216" y="2254302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4pPr>
              <a:defRPr lang="en-US" sz="900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17216" y="4552950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F2B1587-FD34-2513-9090-DBDE253086C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6453" y="1878292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73A899C4-6C63-6412-30D1-7F5D31EA321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56180" y="1878288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62A3F32-A8C3-C040-EF64-341CFA13D7A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38044" y="1878290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83BB6F0-49AD-7CDC-A544-81E2CABAE40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117216" y="1878290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56150977-4E59-423A-4E95-33546DBCD96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6453" y="4176207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3F105B2F-68F4-2326-B135-31FB0DBB62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6180" y="4176203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92014E54-B72A-809A-E31B-A81C2F06483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044" y="4176205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AC600DF3-DC32-7CCA-4D0F-8A891FD32AB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117216" y="4176205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</p:spTree>
    <p:extLst>
      <p:ext uri="{BB962C8B-B14F-4D97-AF65-F5344CB8AC3E}">
        <p14:creationId xmlns:p14="http://schemas.microsoft.com/office/powerpoint/2010/main" val="1018215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  <a:lvl4pPr>
              <a:defRPr lang="en-US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  <a:lvl4pPr>
              <a:defRPr lang="en-US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6191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2978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>
                <a:solidFill>
                  <a:schemeClr val="tx1"/>
                </a:solidFill>
                <a:latin typeface="+mn-lt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u="sng" err="1">
                <a:solidFill>
                  <a:schemeClr val="tx1"/>
                </a:solidFill>
                <a:latin typeface="+mn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n-lt"/>
              </a:rPr>
              <a:t>(Regular):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n-lt"/>
              </a:rPr>
              <a:t>EricssonHilda+Bold</a:t>
            </a:r>
            <a:r>
              <a:rPr lang="en-US" sz="1200" b="1" u="sng">
                <a:solidFill>
                  <a:schemeClr val="tx1"/>
                </a:solidFill>
                <a:latin typeface="+mn-lt"/>
              </a:rPr>
              <a:t>(Bold):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6541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64730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45732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433389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1548355-d009-41d1-8805-a2726ff6a8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D510456-FEBC-46FA-B25A-B809F2C18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FirstDividerHider">
            <a:extLst>
              <a:ext uri="{FF2B5EF4-FFF2-40B4-BE49-F238E27FC236}">
                <a16:creationId xmlns:a16="http://schemas.microsoft.com/office/drawing/2014/main" id="{4EDD5C80-CD72-4597-8F70-395B8174120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83739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b76f10e-1c71-4bdc-b2f6-56fe3be7b39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5" name="FirstDividerHider">
            <a:extLst>
              <a:ext uri="{FF2B5EF4-FFF2-40B4-BE49-F238E27FC236}">
                <a16:creationId xmlns:a16="http://schemas.microsoft.com/office/drawing/2014/main" id="{CA0A38D4-B093-4CE6-9935-648A137BFEC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3742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sldNum" sz="quarter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 lang="en-US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8936" y="1482831"/>
            <a:ext cx="2149434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06321" y="1482831"/>
            <a:ext cx="5341107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734106" y="1482831"/>
            <a:ext cx="2378866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262906" y="3499200"/>
            <a:ext cx="2850066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283527" y="3499200"/>
            <a:ext cx="1898675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02327" y="3499200"/>
            <a:ext cx="1898675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078936" y="3499200"/>
            <a:ext cx="3140866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553551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7EFA6A-26BC-43AB-A3CE-6956A0330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203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7EFA6A-26BC-43AB-A3CE-6956A0330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65B1A2F-5924-47FE-80DA-99B9FCE3257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 anchor="b"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r>
              <a:rPr lang="en-US"/>
              <a:t>Presentation title,</a:t>
            </a:r>
            <a:br>
              <a:rPr lang="en-US"/>
            </a:br>
            <a:r>
              <a:rPr lang="en-US"/>
              <a:t>Ericsson Hilda Light 60pt,</a:t>
            </a:r>
            <a:br>
              <a:rPr lang="en-US"/>
            </a:br>
            <a:r>
              <a:rPr lang="en-US"/>
              <a:t>Ericsson Black,</a:t>
            </a:r>
            <a:br>
              <a:rPr lang="en-US"/>
            </a:br>
            <a:r>
              <a:rPr lang="en-US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1249589"/>
          </a:xfrm>
          <a:prstGeom prst="rect">
            <a:avLst/>
          </a:prstGeom>
        </p:spPr>
        <p:txBody>
          <a:bodyPr l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Presentation description/subtitle</a:t>
            </a:r>
            <a:br>
              <a:rPr lang="en-US"/>
            </a:br>
            <a:r>
              <a:rPr lang="en-US"/>
              <a:t>Ericsson Hilda 20p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6671733" y="6237286"/>
            <a:ext cx="34798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253133" y="6237287"/>
            <a:ext cx="145632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r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BE5E08-5EB6-4E17-8FB8-40199F9803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2368A70D-747D-424D-AB09-8AF9F3525E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6237286"/>
            <a:ext cx="44450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l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Confidentiality / Disclaimer</a:t>
            </a:r>
          </a:p>
        </p:txBody>
      </p:sp>
    </p:spTree>
    <p:extLst>
      <p:ext uri="{BB962C8B-B14F-4D97-AF65-F5344CB8AC3E}">
        <p14:creationId xmlns:p14="http://schemas.microsoft.com/office/powerpoint/2010/main" val="3183878210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87B7DD-83C6-409F-96FA-5864761AC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23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87B7DD-83C6-409F-96FA-5864761AC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4BAE6F-72EF-4EFC-9748-FF23A50211C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1AC90A-E5DC-4F17-9A19-0764F46A5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52453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78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704E47-1A71-4997-B55B-E0E91DB005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3C49B2-6D12-4F88-9218-C66DDED3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0449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0ACA97-4ED5-4F20-9D65-2327DE647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566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0ACA97-4ED5-4F20-9D65-2327DE647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BB62F3-B838-4286-BD57-8E1E6683804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6144E3-12A3-44AA-973E-59ECFD1D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02891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316E4E-A648-43CC-986C-6EFF5FDB2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8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316E4E-A648-43CC-986C-6EFF5FDB2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159292E-7912-42FC-86E6-F176F46B074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7B6BE3-6821-4C87-80E0-3E9A1EE46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44411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5A962-D763-42D6-AED4-E8E7D05BC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67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5A962-D763-42D6-AED4-E8E7D05BC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B4381F-8F1F-41C9-B41A-78B236C98A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4989DD-68A0-42A0-808F-DF89DB2A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13444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08990D-82E1-4E41-B171-7AF948E17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96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08990D-82E1-4E41-B171-7AF948E17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C3540C-1C08-4BA2-B647-AF3E5424468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E470C4-BC99-4366-A6EB-922B91C2E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677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42C8A1-3B66-4AF0-A374-8FBEE29DB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439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42C8A1-3B66-4AF0-A374-8FBEE29DB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324888-C26B-4D9D-8EA4-30D85CB145A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C1F51F-740C-4E2B-864E-954F8B387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238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E6AA75-B795-481B-8198-755C335F2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6237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E6AA75-B795-481B-8198-755C335F2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202898-C43D-4909-93F4-6D87AE05B21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9A935C2-BF59-4A9B-8AFC-553DEC3EE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75904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622711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D189A1-8D41-484C-A514-407C547DCE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14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D189A1-8D41-484C-A514-407C547DC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  <a:prstGeom prst="rect">
            <a:avLst/>
          </a:prstGeom>
        </p:spPr>
        <p:txBody>
          <a:bodyPr vert="horz"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23393375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itle_SM">
            <a:extLst>
              <a:ext uri="{FF2B5EF4-FFF2-40B4-BE49-F238E27FC236}">
                <a16:creationId xmlns:a16="http://schemas.microsoft.com/office/drawing/2014/main" id="{C3312695-7D8B-4EA6-892D-6E2041C1BF8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6ACC495-C9EE-4920-8BF2-506DED2F82F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61167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BCDBE0-A6F8-426D-956A-B2FC98CCE0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676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BCDBE0-A6F8-426D-956A-B2FC98CCE0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25236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45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3098929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45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6128809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3533902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717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50B2D2-8108-4D8A-89D5-200DB3A66FF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ACEB1A9A-6E8B-4AEE-916B-1160C372BE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9270" y="481203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89208A-5049-40AF-ACBF-F572A7A0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3566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9F042C-1AEA-4464-B3AC-068D614C4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280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9F042C-1AEA-4464-B3AC-068D614C4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99071CE-F2DE-431D-A304-302D376E09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3309" y="2866608"/>
            <a:ext cx="865383" cy="11455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7689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52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704E47-1A71-4997-B55B-E0E91DB005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3C49B2-6D12-4F88-9218-C66DDED3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4915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0ACA97-4ED5-4F20-9D65-2327DE647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611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0ACA97-4ED5-4F20-9D65-2327DE647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BB62F3-B838-4286-BD57-8E1E6683804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6144E3-12A3-44AA-973E-59ECFD1D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730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316E4E-A648-43CC-986C-6EFF5FDB2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00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316E4E-A648-43CC-986C-6EFF5FDB2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159292E-7912-42FC-86E6-F176F46B074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7B6BE3-6821-4C87-80E0-3E9A1EE46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36643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5A962-D763-42D6-AED4-E8E7D05BC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95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5A962-D763-42D6-AED4-E8E7D05BC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B4381F-8F1F-41C9-B41A-78B236C98A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4989DD-68A0-42A0-808F-DF89DB2A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76255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08990D-82E1-4E41-B171-7AF948E17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63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08990D-82E1-4E41-B171-7AF948E17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C3540C-1C08-4BA2-B647-AF3E5424468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E470C4-BC99-4366-A6EB-922B91C2E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80067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42C8A1-3B66-4AF0-A374-8FBEE29DB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697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42C8A1-3B66-4AF0-A374-8FBEE29DB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324888-C26B-4D9D-8EA4-30D85CB145A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C1F51F-740C-4E2B-864E-954F8B387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3972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E6AA75-B795-481B-8198-755C335F2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34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E6AA75-B795-481B-8198-755C335F2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202898-C43D-4909-93F4-6D87AE05B21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9A935C2-BF59-4A9B-8AFC-553DEC3EE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6210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46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2190776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12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50B2D2-8108-4D8A-89D5-200DB3A66FF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ACEB1A9A-6E8B-4AEE-916B-1160C372BE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9270" y="481203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89208A-5049-40AF-ACBF-F572A7A0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8211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96940A05-7F5D-4B0E-A029-4446718DF76E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77.xml"/><Relationship Id="rId68" Type="http://schemas.openxmlformats.org/officeDocument/2006/relationships/image" Target="../media/image6.emf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slideLayout" Target="../slideLayouts/slideLayout72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19.xml"/><Relationship Id="rId61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64" Type="http://schemas.openxmlformats.org/officeDocument/2006/relationships/slideLayout" Target="../slideLayouts/slideLayout78.xml"/><Relationship Id="rId69" Type="http://schemas.openxmlformats.org/officeDocument/2006/relationships/image" Target="../media/image4.png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59" Type="http://schemas.openxmlformats.org/officeDocument/2006/relationships/slideLayout" Target="../slideLayouts/slideLayout73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62" Type="http://schemas.openxmlformats.org/officeDocument/2006/relationships/slideLayout" Target="../slideLayouts/slideLayout76.xml"/><Relationship Id="rId70" Type="http://schemas.openxmlformats.org/officeDocument/2006/relationships/image" Target="../media/image5.sv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Relationship Id="rId60" Type="http://schemas.openxmlformats.org/officeDocument/2006/relationships/slideLayout" Target="../slideLayouts/slideLayout74.xml"/><Relationship Id="rId65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05336C95-19F3-AC92-CBFD-52ED526CF0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736" y="211659"/>
            <a:ext cx="818108" cy="81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665815C-E6AB-667E-FD0B-272049406215}"/>
              </a:ext>
            </a:extLst>
          </p:cNvPr>
          <p:cNvSpPr txBox="1"/>
          <p:nvPr userDrawn="1"/>
        </p:nvSpPr>
        <p:spPr>
          <a:xfrm>
            <a:off x="9340769" y="6488080"/>
            <a:ext cx="2742373" cy="158261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None/>
              <a:tabLst/>
            </a:pPr>
            <a:r>
              <a:rPr kumimoji="0" lang="en-US" sz="8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Oscar Llorente Gonzalez  |  02-2024  |  Ericsson CNS – GAI Lab</a:t>
            </a:r>
          </a:p>
        </p:txBody>
      </p:sp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7" r:id="rId2"/>
    <p:sldLayoutId id="2147483709" r:id="rId3"/>
    <p:sldLayoutId id="2147483673" r:id="rId4"/>
    <p:sldLayoutId id="2147483706" r:id="rId5"/>
    <p:sldLayoutId id="2147483694" r:id="rId6"/>
    <p:sldLayoutId id="2147483675" r:id="rId7"/>
    <p:sldLayoutId id="2147483696" r:id="rId8"/>
    <p:sldLayoutId id="2147483678" r:id="rId9"/>
    <p:sldLayoutId id="2147483690" r:id="rId10"/>
    <p:sldLayoutId id="2147483681" r:id="rId11"/>
    <p:sldLayoutId id="2147483692" r:id="rId12"/>
    <p:sldLayoutId id="2147483705" r:id="rId13"/>
    <p:sldLayoutId id="2147483844" r:id="rId14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7E7041-BA2E-EDFC-61FE-16A696CB4B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135669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306" imgH="306" progId="TCLayout.ActiveDocument.1">
                  <p:embed/>
                </p:oleObj>
              </mc:Choice>
              <mc:Fallback>
                <p:oleObj name="think-cell Slide" r:id="rId67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7E7041-BA2E-EDFC-61FE-16A696CB4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FCA6C0-C300-46F3-8D05-D936BF801E76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8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  <p:sldLayoutId id="2147483793" r:id="rId28"/>
    <p:sldLayoutId id="2147483794" r:id="rId29"/>
    <p:sldLayoutId id="2147483795" r:id="rId30"/>
    <p:sldLayoutId id="2147483796" r:id="rId31"/>
    <p:sldLayoutId id="2147483797" r:id="rId32"/>
    <p:sldLayoutId id="2147483798" r:id="rId33"/>
    <p:sldLayoutId id="2147483799" r:id="rId34"/>
    <p:sldLayoutId id="2147483800" r:id="rId35"/>
    <p:sldLayoutId id="2147483801" r:id="rId36"/>
    <p:sldLayoutId id="2147483802" r:id="rId37"/>
    <p:sldLayoutId id="2147483803" r:id="rId38"/>
    <p:sldLayoutId id="2147483804" r:id="rId39"/>
    <p:sldLayoutId id="2147483805" r:id="rId40"/>
    <p:sldLayoutId id="2147483806" r:id="rId41"/>
    <p:sldLayoutId id="2147483807" r:id="rId42"/>
    <p:sldLayoutId id="2147483808" r:id="rId43"/>
    <p:sldLayoutId id="2147483809" r:id="rId44"/>
    <p:sldLayoutId id="2147483810" r:id="rId45"/>
    <p:sldLayoutId id="2147483811" r:id="rId46"/>
    <p:sldLayoutId id="2147483812" r:id="rId47"/>
    <p:sldLayoutId id="2147483813" r:id="rId48"/>
    <p:sldLayoutId id="2147483814" r:id="rId49"/>
    <p:sldLayoutId id="2147483815" r:id="rId50"/>
    <p:sldLayoutId id="2147483816" r:id="rId51"/>
    <p:sldLayoutId id="2147483817" r:id="rId52"/>
    <p:sldLayoutId id="2147483818" r:id="rId53"/>
    <p:sldLayoutId id="2147483819" r:id="rId54"/>
    <p:sldLayoutId id="2147483820" r:id="rId55"/>
    <p:sldLayoutId id="2147483835" r:id="rId56"/>
    <p:sldLayoutId id="2147483836" r:id="rId57"/>
    <p:sldLayoutId id="2147483837" r:id="rId58"/>
    <p:sldLayoutId id="2147483838" r:id="rId59"/>
    <p:sldLayoutId id="2147483839" r:id="rId60"/>
    <p:sldLayoutId id="2147483840" r:id="rId61"/>
    <p:sldLayoutId id="2147483841" r:id="rId62"/>
    <p:sldLayoutId id="2147483842" r:id="rId63"/>
    <p:sldLayoutId id="2147483843" r:id="rId64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7" Type="http://schemas.openxmlformats.org/officeDocument/2006/relationships/image" Target="../media/image51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0.png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6.png"/><Relationship Id="rId5" Type="http://schemas.openxmlformats.org/officeDocument/2006/relationships/image" Target="../media/image55.jpeg"/><Relationship Id="rId4" Type="http://schemas.openxmlformats.org/officeDocument/2006/relationships/image" Target="../media/image54.jpeg"/><Relationship Id="rId9" Type="http://schemas.openxmlformats.org/officeDocument/2006/relationships/image" Target="../media/image59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0.bin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BDDCF03B-24AE-05EB-527C-A8170D91E6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577" y="239873"/>
            <a:ext cx="10298047" cy="2403799"/>
          </a:xfrm>
        </p:spPr>
        <p:txBody>
          <a:bodyPr/>
          <a:lstStyle/>
          <a:p>
            <a:r>
              <a:rPr lang="en-US" sz="5400" dirty="0"/>
              <a:t>Graph Neural Networks (GNNs) to Optimize Telecommunications Networks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18B85F4C-6797-89F5-6EA7-2997BBF4E4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9037" y="6270269"/>
            <a:ext cx="3984824" cy="262800"/>
          </a:xfrm>
        </p:spPr>
        <p:txBody>
          <a:bodyPr/>
          <a:lstStyle/>
          <a:p>
            <a:pPr algn="l"/>
            <a:r>
              <a:rPr lang="en-US" dirty="0"/>
              <a:t>Oscar Llorente Gonzalez  -  Senior Data Scientist  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15695D72-E891-28A4-9B93-F7EB42BD360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968538" y="6264000"/>
            <a:ext cx="4776104" cy="262800"/>
          </a:xfrm>
        </p:spPr>
        <p:txBody>
          <a:bodyPr/>
          <a:lstStyle/>
          <a:p>
            <a:r>
              <a:rPr lang="en-US" dirty="0"/>
              <a:t>Ericsson Cognitive Labs –  Geometric Artificial Intelligence (GAI) Lab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1133B3-17C3-57AA-A549-C7EA019C209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February 20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DC836-EE7C-B530-394D-A88B2AFA875A}"/>
              </a:ext>
            </a:extLst>
          </p:cNvPr>
          <p:cNvSpPr txBox="1"/>
          <p:nvPr/>
        </p:nvSpPr>
        <p:spPr bwMode="auto">
          <a:xfrm>
            <a:off x="7101444" y="551015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6470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B2D9C-8B36-DF82-DE62-04BD9EBCA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for node classification</a:t>
            </a:r>
          </a:p>
        </p:txBody>
      </p:sp>
      <p:pic>
        <p:nvPicPr>
          <p:cNvPr id="4" name="Picture 3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B6381542-7F94-2D4E-74F9-1572A79EA4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675" y="1557338"/>
            <a:ext cx="7732650" cy="448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71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9ED-FDB1-AE0B-6739-08CD8A57B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rain a GNN for node classification?</a:t>
            </a:r>
          </a:p>
        </p:txBody>
      </p:sp>
      <p:pic>
        <p:nvPicPr>
          <p:cNvPr id="5" name="Picture 4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7D3F02DB-84B6-64BF-B698-2450CA5F66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830" y="1557338"/>
            <a:ext cx="7401418" cy="448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360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27E88-DB9F-101F-A206-81F48CE20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ing Graph Neural Network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A5D4CF-FB5C-1558-C353-E6790B8092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9353" y="4013520"/>
            <a:ext cx="6328347" cy="245152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B074706-525A-4098-7189-696B41F59D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1087" y="1936957"/>
            <a:ext cx="5444880" cy="1971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2783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48CAE-749E-7EB0-DCE5-F68640328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for graph classification</a:t>
            </a:r>
          </a:p>
        </p:txBody>
      </p:sp>
      <p:pic>
        <p:nvPicPr>
          <p:cNvPr id="5" name="Picture 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4A62C3F1-EC78-12AB-FB8A-BF99BC4BE7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234" y="1442719"/>
            <a:ext cx="4938048" cy="447378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726F1B7-AC4B-0573-44C2-7C9042A67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80" y="3196378"/>
            <a:ext cx="4737351" cy="108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084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6588C-9397-091F-F0E5-C54A775F8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rain a GNN for graph classification?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788DE20-8559-56DC-5E36-4D2B73FE42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018" y="3268229"/>
            <a:ext cx="4737351" cy="108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A46FF6CB-65E2-DF95-9787-6B74050965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31" y="1923926"/>
            <a:ext cx="5205435" cy="404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6997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28B9D-FDC1-5195-A8D2-0DB5691FB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for link classification</a:t>
            </a:r>
          </a:p>
        </p:txBody>
      </p:sp>
      <p:pic>
        <p:nvPicPr>
          <p:cNvPr id="5" name="Picture 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DF8411F8-9E15-4722-DBDE-8CD0A7FA6C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496" y="1921127"/>
            <a:ext cx="8837007" cy="356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827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CE4CC-64D5-AA0E-B674-77C8A002B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rain a GNN for link classification?</a:t>
            </a:r>
          </a:p>
        </p:txBody>
      </p:sp>
      <p:pic>
        <p:nvPicPr>
          <p:cNvPr id="5" name="Picture 4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8DB7F9D7-A46A-0129-A019-3AC70C7ADC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219" y="1226034"/>
            <a:ext cx="4793562" cy="4955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2834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51465-6783-8E33-CE0E-0C42EDAF6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optimize a cellular network </a:t>
            </a:r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DDD718E0-FB4C-3CC6-D30D-FFC0D30190CB}"/>
              </a:ext>
            </a:extLst>
          </p:cNvPr>
          <p:cNvSpPr/>
          <p:nvPr/>
        </p:nvSpPr>
        <p:spPr>
          <a:xfrm>
            <a:off x="708448" y="2909061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2F2C02B2-56A8-ECBF-B444-892276469C24}"/>
              </a:ext>
            </a:extLst>
          </p:cNvPr>
          <p:cNvSpPr/>
          <p:nvPr/>
        </p:nvSpPr>
        <p:spPr>
          <a:xfrm>
            <a:off x="1975581" y="2221303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EB22DB6F-6E27-673E-5295-75DF53FD35E4}"/>
              </a:ext>
            </a:extLst>
          </p:cNvPr>
          <p:cNvSpPr/>
          <p:nvPr/>
        </p:nvSpPr>
        <p:spPr>
          <a:xfrm>
            <a:off x="708448" y="4305375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E221FCFA-60AE-3FC1-34CF-028FDA700FB2}"/>
              </a:ext>
            </a:extLst>
          </p:cNvPr>
          <p:cNvSpPr/>
          <p:nvPr/>
        </p:nvSpPr>
        <p:spPr>
          <a:xfrm>
            <a:off x="1983456" y="3617616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294A3297-A565-7CD1-DE89-66F416B94630}"/>
              </a:ext>
            </a:extLst>
          </p:cNvPr>
          <p:cNvSpPr/>
          <p:nvPr/>
        </p:nvSpPr>
        <p:spPr>
          <a:xfrm>
            <a:off x="3245249" y="3135258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0C12E398-5448-5535-AF94-09E471FAB46A}"/>
              </a:ext>
            </a:extLst>
          </p:cNvPr>
          <p:cNvSpPr/>
          <p:nvPr/>
        </p:nvSpPr>
        <p:spPr>
          <a:xfrm>
            <a:off x="1921490" y="4993132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CEC1585E-E821-9546-DED8-60A28E30CAB2}"/>
              </a:ext>
            </a:extLst>
          </p:cNvPr>
          <p:cNvSpPr/>
          <p:nvPr/>
        </p:nvSpPr>
        <p:spPr>
          <a:xfrm>
            <a:off x="4074311" y="3589262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97CE6102-8077-B86A-46DA-5C96FC747FE5}"/>
              </a:ext>
            </a:extLst>
          </p:cNvPr>
          <p:cNvSpPr/>
          <p:nvPr/>
        </p:nvSpPr>
        <p:spPr>
          <a:xfrm>
            <a:off x="4053027" y="2645345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520A189C-24A5-CBB3-085B-62AF66A262AF}"/>
              </a:ext>
            </a:extLst>
          </p:cNvPr>
          <p:cNvSpPr/>
          <p:nvPr/>
        </p:nvSpPr>
        <p:spPr>
          <a:xfrm>
            <a:off x="4086445" y="5475489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836154C8-88A4-4C45-8269-8068D02E6720}"/>
              </a:ext>
            </a:extLst>
          </p:cNvPr>
          <p:cNvSpPr/>
          <p:nvPr/>
        </p:nvSpPr>
        <p:spPr>
          <a:xfrm>
            <a:off x="4898801" y="4049214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E13678FD-3A1E-9953-803E-1D76269342D3}"/>
              </a:ext>
            </a:extLst>
          </p:cNvPr>
          <p:cNvSpPr/>
          <p:nvPr/>
        </p:nvSpPr>
        <p:spPr>
          <a:xfrm>
            <a:off x="4086445" y="4533179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5" name="Graphic 14" descr="Cell Tower outline">
            <a:extLst>
              <a:ext uri="{FF2B5EF4-FFF2-40B4-BE49-F238E27FC236}">
                <a16:creationId xmlns:a16="http://schemas.microsoft.com/office/drawing/2014/main" id="{B70DB884-C4C6-F719-52E0-AE0F96D41F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729" y="3294755"/>
            <a:ext cx="589013" cy="589013"/>
          </a:xfrm>
          <a:prstGeom prst="rect">
            <a:avLst/>
          </a:prstGeom>
        </p:spPr>
      </p:pic>
      <p:pic>
        <p:nvPicPr>
          <p:cNvPr id="16" name="Graphic 15" descr="Cell Tower outline">
            <a:extLst>
              <a:ext uri="{FF2B5EF4-FFF2-40B4-BE49-F238E27FC236}">
                <a16:creationId xmlns:a16="http://schemas.microsoft.com/office/drawing/2014/main" id="{68642E3D-1FAA-6269-4AB5-C01ACE03E6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7184" y="2915351"/>
            <a:ext cx="589013" cy="589013"/>
          </a:xfrm>
          <a:prstGeom prst="rect">
            <a:avLst/>
          </a:prstGeom>
        </p:spPr>
      </p:pic>
      <p:pic>
        <p:nvPicPr>
          <p:cNvPr id="17" name="Graphic 16" descr="Cell Tower outline">
            <a:extLst>
              <a:ext uri="{FF2B5EF4-FFF2-40B4-BE49-F238E27FC236}">
                <a16:creationId xmlns:a16="http://schemas.microsoft.com/office/drawing/2014/main" id="{FE233DF1-BE00-9D50-4B73-902FC433E3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84949" y="2398642"/>
            <a:ext cx="589013" cy="589013"/>
          </a:xfrm>
          <a:prstGeom prst="rect">
            <a:avLst/>
          </a:prstGeom>
        </p:spPr>
      </p:pic>
      <p:pic>
        <p:nvPicPr>
          <p:cNvPr id="18" name="Graphic 17" descr="Cell Tower outline">
            <a:extLst>
              <a:ext uri="{FF2B5EF4-FFF2-40B4-BE49-F238E27FC236}">
                <a16:creationId xmlns:a16="http://schemas.microsoft.com/office/drawing/2014/main" id="{2C510F1A-FF3A-9274-3FB2-D96012662B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43972" y="4313871"/>
            <a:ext cx="589013" cy="589013"/>
          </a:xfrm>
          <a:prstGeom prst="rect">
            <a:avLst/>
          </a:prstGeom>
        </p:spPr>
      </p:pic>
      <p:pic>
        <p:nvPicPr>
          <p:cNvPr id="19" name="Graphic 18" descr="Cell Tower outline">
            <a:extLst>
              <a:ext uri="{FF2B5EF4-FFF2-40B4-BE49-F238E27FC236}">
                <a16:creationId xmlns:a16="http://schemas.microsoft.com/office/drawing/2014/main" id="{5A82FF9A-F804-E39B-1F89-EE5C475ADA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72849" y="3707862"/>
            <a:ext cx="589013" cy="589013"/>
          </a:xfrm>
          <a:prstGeom prst="rect">
            <a:avLst/>
          </a:prstGeom>
        </p:spPr>
      </p:pic>
      <p:pic>
        <p:nvPicPr>
          <p:cNvPr id="20" name="Graphic 19" descr="Cell Tower outline">
            <a:extLst>
              <a:ext uri="{FF2B5EF4-FFF2-40B4-BE49-F238E27FC236}">
                <a16:creationId xmlns:a16="http://schemas.microsoft.com/office/drawing/2014/main" id="{6E0D851D-CD54-DEBB-FC0D-6986D92F5B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6437" y="3784669"/>
            <a:ext cx="589013" cy="589013"/>
          </a:xfrm>
          <a:prstGeom prst="rect">
            <a:avLst/>
          </a:prstGeom>
        </p:spPr>
      </p:pic>
      <p:pic>
        <p:nvPicPr>
          <p:cNvPr id="21" name="Graphic 20" descr="Cell Tower outline">
            <a:extLst>
              <a:ext uri="{FF2B5EF4-FFF2-40B4-BE49-F238E27FC236}">
                <a16:creationId xmlns:a16="http://schemas.microsoft.com/office/drawing/2014/main" id="{9369E914-61E3-3221-0830-40BD49D861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9787" y="2842705"/>
            <a:ext cx="589013" cy="589013"/>
          </a:xfrm>
          <a:prstGeom prst="rect">
            <a:avLst/>
          </a:prstGeom>
        </p:spPr>
      </p:pic>
      <p:pic>
        <p:nvPicPr>
          <p:cNvPr id="22" name="Graphic 21" descr="Cell Tower outline">
            <a:extLst>
              <a:ext uri="{FF2B5EF4-FFF2-40B4-BE49-F238E27FC236}">
                <a16:creationId xmlns:a16="http://schemas.microsoft.com/office/drawing/2014/main" id="{D7A96F2A-E25F-373B-6C1E-101BB0BF6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1681" y="3770397"/>
            <a:ext cx="589013" cy="589013"/>
          </a:xfrm>
          <a:prstGeom prst="rect">
            <a:avLst/>
          </a:prstGeom>
        </p:spPr>
      </p:pic>
      <p:pic>
        <p:nvPicPr>
          <p:cNvPr id="23" name="Graphic 22" descr="Cell Tower outline">
            <a:extLst>
              <a:ext uri="{FF2B5EF4-FFF2-40B4-BE49-F238E27FC236}">
                <a16:creationId xmlns:a16="http://schemas.microsoft.com/office/drawing/2014/main" id="{21D8B5E6-06F9-EAC1-D030-F85CD55CC7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3800" y="4226666"/>
            <a:ext cx="589013" cy="589013"/>
          </a:xfrm>
          <a:prstGeom prst="rect">
            <a:avLst/>
          </a:prstGeom>
        </p:spPr>
      </p:pic>
      <p:pic>
        <p:nvPicPr>
          <p:cNvPr id="24" name="Graphic 23" descr="Cell Tower outline">
            <a:extLst>
              <a:ext uri="{FF2B5EF4-FFF2-40B4-BE49-F238E27FC236}">
                <a16:creationId xmlns:a16="http://schemas.microsoft.com/office/drawing/2014/main" id="{1FB82C8D-5ED4-BBC5-04AE-EC8CBF092F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1444" y="4709023"/>
            <a:ext cx="589013" cy="589013"/>
          </a:xfrm>
          <a:prstGeom prst="rect">
            <a:avLst/>
          </a:prstGeom>
        </p:spPr>
      </p:pic>
      <p:pic>
        <p:nvPicPr>
          <p:cNvPr id="25" name="Graphic 24" descr="Cell Tower outline">
            <a:extLst>
              <a:ext uri="{FF2B5EF4-FFF2-40B4-BE49-F238E27FC236}">
                <a16:creationId xmlns:a16="http://schemas.microsoft.com/office/drawing/2014/main" id="{ACA46D10-2501-40CC-F299-68A3B0E551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37239" y="5013929"/>
            <a:ext cx="589013" cy="589013"/>
          </a:xfrm>
          <a:prstGeom prst="rect">
            <a:avLst/>
          </a:prstGeom>
        </p:spPr>
      </p:pic>
      <p:pic>
        <p:nvPicPr>
          <p:cNvPr id="26" name="Graphic 25" descr="Cell Tower outline">
            <a:extLst>
              <a:ext uri="{FF2B5EF4-FFF2-40B4-BE49-F238E27FC236}">
                <a16:creationId xmlns:a16="http://schemas.microsoft.com/office/drawing/2014/main" id="{78307CF9-A0A5-64DB-6207-1D26D93965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689" y="4521173"/>
            <a:ext cx="589013" cy="589013"/>
          </a:xfrm>
          <a:prstGeom prst="rect">
            <a:avLst/>
          </a:prstGeom>
        </p:spPr>
      </p:pic>
      <p:pic>
        <p:nvPicPr>
          <p:cNvPr id="27" name="Graphic 26" descr="Cell Tower outline">
            <a:extLst>
              <a:ext uri="{FF2B5EF4-FFF2-40B4-BE49-F238E27FC236}">
                <a16:creationId xmlns:a16="http://schemas.microsoft.com/office/drawing/2014/main" id="{268AF073-5653-328A-0139-020D122DB3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36352" y="5396781"/>
            <a:ext cx="589013" cy="589013"/>
          </a:xfrm>
          <a:prstGeom prst="rect">
            <a:avLst/>
          </a:prstGeom>
        </p:spPr>
      </p:pic>
      <p:pic>
        <p:nvPicPr>
          <p:cNvPr id="28" name="Graphic 27" descr="Cell Tower outline">
            <a:extLst>
              <a:ext uri="{FF2B5EF4-FFF2-40B4-BE49-F238E27FC236}">
                <a16:creationId xmlns:a16="http://schemas.microsoft.com/office/drawing/2014/main" id="{EFE8EF1E-19A8-8955-4F43-BCAA954227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552" y="3676269"/>
            <a:ext cx="589013" cy="589013"/>
          </a:xfrm>
          <a:prstGeom prst="rect">
            <a:avLst/>
          </a:prstGeom>
        </p:spPr>
      </p:pic>
      <p:pic>
        <p:nvPicPr>
          <p:cNvPr id="29" name="Graphic 28" descr="Cell Tower outline">
            <a:extLst>
              <a:ext uri="{FF2B5EF4-FFF2-40B4-BE49-F238E27FC236}">
                <a16:creationId xmlns:a16="http://schemas.microsoft.com/office/drawing/2014/main" id="{5848F20B-321B-B1B9-6BFD-2C677EE77A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5217" y="3140171"/>
            <a:ext cx="589013" cy="589013"/>
          </a:xfrm>
          <a:prstGeom prst="rect">
            <a:avLst/>
          </a:prstGeom>
        </p:spPr>
      </p:pic>
      <p:pic>
        <p:nvPicPr>
          <p:cNvPr id="30" name="Graphic 29" descr="Cell Tower outline">
            <a:extLst>
              <a:ext uri="{FF2B5EF4-FFF2-40B4-BE49-F238E27FC236}">
                <a16:creationId xmlns:a16="http://schemas.microsoft.com/office/drawing/2014/main" id="{0C02BCE4-5614-7BBD-3430-2E275C8406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2755" y="3003415"/>
            <a:ext cx="589013" cy="589013"/>
          </a:xfrm>
          <a:prstGeom prst="rect">
            <a:avLst/>
          </a:prstGeom>
        </p:spPr>
      </p:pic>
      <p:pic>
        <p:nvPicPr>
          <p:cNvPr id="31" name="Graphic 30" descr="Cell Tower outline">
            <a:extLst>
              <a:ext uri="{FF2B5EF4-FFF2-40B4-BE49-F238E27FC236}">
                <a16:creationId xmlns:a16="http://schemas.microsoft.com/office/drawing/2014/main" id="{750D9EBC-C4D6-85B2-52F8-1DD66A495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981" y="5636594"/>
            <a:ext cx="589013" cy="58901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6C959D5-13C6-84FC-8819-4FD1378D60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1437" y="2070614"/>
            <a:ext cx="4661800" cy="2867499"/>
          </a:xfrm>
          <a:prstGeom prst="rect">
            <a:avLst/>
          </a:prstGeom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D6394E2-4524-C32A-2BEA-658D5C7B7490}"/>
              </a:ext>
            </a:extLst>
          </p:cNvPr>
          <p:cNvSpPr/>
          <p:nvPr/>
        </p:nvSpPr>
        <p:spPr>
          <a:xfrm>
            <a:off x="9936107" y="5156837"/>
            <a:ext cx="1260389" cy="6877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933" b="1" dirty="0" err="1">
                <a:latin typeface="Ericsson Hilda (Body)"/>
              </a:rPr>
              <a:t>Optimization</a:t>
            </a:r>
            <a:endParaRPr lang="es-ES" sz="933" b="1" dirty="0">
              <a:latin typeface="Ericsson Hilda (Body)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C31204A-9EB0-EC47-4391-D62CA67E799C}"/>
              </a:ext>
            </a:extLst>
          </p:cNvPr>
          <p:cNvCxnSpPr>
            <a:stCxn id="33" idx="0"/>
          </p:cNvCxnSpPr>
          <p:nvPr/>
        </p:nvCxnSpPr>
        <p:spPr>
          <a:xfrm flipV="1">
            <a:off x="10566301" y="4753186"/>
            <a:ext cx="4120" cy="40365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E6CC31D3-DBB2-15BC-6E17-C29154E2270A}"/>
              </a:ext>
            </a:extLst>
          </p:cNvPr>
          <p:cNvSpPr/>
          <p:nvPr/>
        </p:nvSpPr>
        <p:spPr>
          <a:xfrm>
            <a:off x="366768" y="1557338"/>
            <a:ext cx="491544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  <a:latin typeface="Ericsson Hilda (Body)"/>
              </a:rPr>
              <a:t>Cellular Network</a:t>
            </a:r>
            <a:endParaRPr lang="en-US" sz="1400" dirty="0">
              <a:latin typeface="Ericsson Hilda (Body)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5DB5FE-FA14-571E-D1C1-0FFB4D0B3F9A}"/>
              </a:ext>
            </a:extLst>
          </p:cNvPr>
          <p:cNvSpPr/>
          <p:nvPr/>
        </p:nvSpPr>
        <p:spPr>
          <a:xfrm>
            <a:off x="6601358" y="1620789"/>
            <a:ext cx="491544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  <a:latin typeface="Ericsson Hilda (Body)"/>
              </a:rPr>
              <a:t>Solution Architecture</a:t>
            </a:r>
            <a:endParaRPr lang="en-US" sz="1400" dirty="0">
              <a:latin typeface="Ericsson Hilda (Body)"/>
            </a:endParaRPr>
          </a:p>
        </p:txBody>
      </p:sp>
    </p:spTree>
    <p:extLst>
      <p:ext uri="{BB962C8B-B14F-4D97-AF65-F5344CB8AC3E}">
        <p14:creationId xmlns:p14="http://schemas.microsoft.com/office/powerpoint/2010/main" val="3081796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A1044-8DD4-0C15-41F1-45A0C62C3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link Interfere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7B4141A-4340-06AE-59F6-2C5DA4E3387D}"/>
              </a:ext>
            </a:extLst>
          </p:cNvPr>
          <p:cNvSpPr/>
          <p:nvPr/>
        </p:nvSpPr>
        <p:spPr>
          <a:xfrm>
            <a:off x="1120345" y="1831375"/>
            <a:ext cx="5696464" cy="2961503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71A64CE-FD26-9F2B-4473-8425A6C81311}"/>
              </a:ext>
            </a:extLst>
          </p:cNvPr>
          <p:cNvSpPr/>
          <p:nvPr/>
        </p:nvSpPr>
        <p:spPr>
          <a:xfrm>
            <a:off x="5811792" y="1781945"/>
            <a:ext cx="5696464" cy="2961503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Graphic 5" descr="Cell Tower with solid fill">
            <a:extLst>
              <a:ext uri="{FF2B5EF4-FFF2-40B4-BE49-F238E27FC236}">
                <a16:creationId xmlns:a16="http://schemas.microsoft.com/office/drawing/2014/main" id="{2FB4DB81-6480-1962-8706-09DA36AA4A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63561" y="1689266"/>
            <a:ext cx="2010033" cy="2010033"/>
          </a:xfrm>
          <a:prstGeom prst="rect">
            <a:avLst/>
          </a:prstGeom>
        </p:spPr>
      </p:pic>
      <p:pic>
        <p:nvPicPr>
          <p:cNvPr id="7" name="Graphic 6" descr="Cell Tower outline">
            <a:extLst>
              <a:ext uri="{FF2B5EF4-FFF2-40B4-BE49-F238E27FC236}">
                <a16:creationId xmlns:a16="http://schemas.microsoft.com/office/drawing/2014/main" id="{57FDDF4A-7456-1B09-0863-4D9F3E85D0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4392" y="1732514"/>
            <a:ext cx="2191265" cy="2191265"/>
          </a:xfrm>
          <a:prstGeom prst="rect">
            <a:avLst/>
          </a:prstGeom>
        </p:spPr>
      </p:pic>
      <p:pic>
        <p:nvPicPr>
          <p:cNvPr id="8" name="Graphic 7" descr="Phone Vibration with solid fill">
            <a:extLst>
              <a:ext uri="{FF2B5EF4-FFF2-40B4-BE49-F238E27FC236}">
                <a16:creationId xmlns:a16="http://schemas.microsoft.com/office/drawing/2014/main" id="{B72CF577-4C69-8091-0B65-904D51FCC0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32388" y="2826090"/>
            <a:ext cx="873209" cy="87320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B52D09B-4BD3-9A3B-D4AD-2F749936E594}"/>
              </a:ext>
            </a:extLst>
          </p:cNvPr>
          <p:cNvCxnSpPr>
            <a:cxnSpLocks/>
          </p:cNvCxnSpPr>
          <p:nvPr/>
        </p:nvCxnSpPr>
        <p:spPr>
          <a:xfrm>
            <a:off x="4733664" y="2610872"/>
            <a:ext cx="1209936" cy="464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0409417-9041-758A-589D-F85D2BAC82B8}"/>
              </a:ext>
            </a:extLst>
          </p:cNvPr>
          <p:cNvCxnSpPr>
            <a:cxnSpLocks/>
          </p:cNvCxnSpPr>
          <p:nvPr/>
        </p:nvCxnSpPr>
        <p:spPr>
          <a:xfrm flipH="1" flipV="1">
            <a:off x="4663645" y="2776659"/>
            <a:ext cx="1186248" cy="4407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8B12B34-D3B9-F09A-8523-32E023D645D3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6816810" y="3075289"/>
            <a:ext cx="1182132" cy="2368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9C960F9-B281-AF4B-2762-1C9F76576561}"/>
              </a:ext>
            </a:extLst>
          </p:cNvPr>
          <p:cNvCxnSpPr>
            <a:cxnSpLocks/>
          </p:cNvCxnSpPr>
          <p:nvPr/>
        </p:nvCxnSpPr>
        <p:spPr>
          <a:xfrm flipV="1">
            <a:off x="6775615" y="2945544"/>
            <a:ext cx="1223327" cy="229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D3157F3-BDCC-0F0D-4BA6-7C1EEDFE6BEF}"/>
              </a:ext>
            </a:extLst>
          </p:cNvPr>
          <p:cNvSpPr txBox="1"/>
          <p:nvPr/>
        </p:nvSpPr>
        <p:spPr>
          <a:xfrm>
            <a:off x="6268991" y="785170"/>
            <a:ext cx="3414588" cy="369332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" dirty="0"/>
              <a:t>Interference from neighbor ce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7DBAA0-A421-7CB2-7DC0-5B783D05F46D}"/>
              </a:ext>
            </a:extLst>
          </p:cNvPr>
          <p:cNvSpPr txBox="1"/>
          <p:nvPr/>
        </p:nvSpPr>
        <p:spPr>
          <a:xfrm>
            <a:off x="2868822" y="3595187"/>
            <a:ext cx="219538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" dirty="0"/>
              <a:t>Serving eN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C9C55C-2A39-D9FD-A61C-12B00FBFFAD2}"/>
              </a:ext>
            </a:extLst>
          </p:cNvPr>
          <p:cNvSpPr txBox="1"/>
          <p:nvPr/>
        </p:nvSpPr>
        <p:spPr>
          <a:xfrm>
            <a:off x="7473428" y="3712829"/>
            <a:ext cx="237318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" dirty="0"/>
              <a:t>Neighbor eN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F269CD2-03C4-4F3C-4A85-F8DEA0926203}"/>
              </a:ext>
            </a:extLst>
          </p:cNvPr>
          <p:cNvCxnSpPr>
            <a:stCxn id="13" idx="2"/>
          </p:cNvCxnSpPr>
          <p:nvPr/>
        </p:nvCxnSpPr>
        <p:spPr>
          <a:xfrm flipH="1">
            <a:off x="7407875" y="1154502"/>
            <a:ext cx="568410" cy="1789618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F8A8A5-0DD6-E756-F662-C006213FD601}"/>
              </a:ext>
            </a:extLst>
          </p:cNvPr>
          <p:cNvSpPr txBox="1"/>
          <p:nvPr/>
        </p:nvSpPr>
        <p:spPr bwMode="auto">
          <a:xfrm>
            <a:off x="244253" y="5069448"/>
            <a:ext cx="5699347" cy="1267107"/>
          </a:xfrm>
          <a:prstGeom prst="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96000" tIns="48000" rIns="97536" bIns="4876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170" rtl="0">
              <a:buClr>
                <a:srgbClr val="181818"/>
              </a:buClr>
              <a:defRPr/>
            </a:pPr>
            <a:r>
              <a:rPr lang="en-US" sz="1867" u="sng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pZeroNominalPusch (p0)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Target uplink transmission power of UE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High p0 = </a:t>
            </a:r>
            <a:r>
              <a:rPr lang="en-US" sz="1867" kern="1200" dirty="0">
                <a:solidFill>
                  <a:srgbClr val="0FC373">
                    <a:lumMod val="75000"/>
                  </a:srgbClr>
                </a:solidFill>
                <a:latin typeface="Ericsson Hilda"/>
                <a:ea typeface="+mn-ea"/>
                <a:cs typeface="+mn-cs"/>
              </a:rPr>
              <a:t>high UE throughput</a:t>
            </a: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, but also </a:t>
            </a:r>
            <a:r>
              <a:rPr lang="en-US" sz="1867" kern="1200" dirty="0">
                <a:solidFill>
                  <a:srgbClr val="FF3232"/>
                </a:solidFill>
                <a:latin typeface="Ericsson Hilda"/>
                <a:ea typeface="+mn-ea"/>
                <a:cs typeface="+mn-cs"/>
              </a:rPr>
              <a:t>higher interference on neighbo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31F9C9-11A4-2776-5DA9-C5EFB7F611DE}"/>
              </a:ext>
            </a:extLst>
          </p:cNvPr>
          <p:cNvSpPr/>
          <p:nvPr/>
        </p:nvSpPr>
        <p:spPr>
          <a:xfrm>
            <a:off x="6096000" y="5064412"/>
            <a:ext cx="5851747" cy="1241622"/>
          </a:xfrm>
          <a:prstGeom prst="rect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 defTabSz="1219170" rtl="0">
              <a:buClr>
                <a:srgbClr val="181818"/>
              </a:buClr>
              <a:defRPr/>
            </a:pPr>
            <a:r>
              <a:rPr lang="en-US" sz="1867" u="sng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Alpha (a)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Pathloss compensation factor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High a = </a:t>
            </a:r>
            <a:r>
              <a:rPr lang="en-US" sz="1867" kern="1200" dirty="0">
                <a:solidFill>
                  <a:srgbClr val="0FC373">
                    <a:lumMod val="75000"/>
                  </a:srgbClr>
                </a:solidFill>
                <a:latin typeface="Ericsson Hilda"/>
                <a:ea typeface="+mn-ea"/>
                <a:cs typeface="+mn-cs"/>
              </a:rPr>
              <a:t>higher UE throughput at cell border</a:t>
            </a: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, </a:t>
            </a:r>
            <a:r>
              <a:rPr lang="en-US" sz="1867" kern="1200" dirty="0">
                <a:solidFill>
                  <a:srgbClr val="FF3232"/>
                </a:solidFill>
                <a:latin typeface="Ericsson Hilda"/>
                <a:ea typeface="+mn-ea"/>
                <a:cs typeface="+mn-cs"/>
              </a:rPr>
              <a:t>higher neighbor interference</a:t>
            </a:r>
          </a:p>
        </p:txBody>
      </p:sp>
    </p:spTree>
    <p:extLst>
      <p:ext uri="{BB962C8B-B14F-4D97-AF65-F5344CB8AC3E}">
        <p14:creationId xmlns:p14="http://schemas.microsoft.com/office/powerpoint/2010/main" val="27353420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E144377-0138-5EE3-85E1-E1E458C5D833}"/>
              </a:ext>
            </a:extLst>
          </p:cNvPr>
          <p:cNvGrpSpPr/>
          <p:nvPr/>
        </p:nvGrpSpPr>
        <p:grpSpPr>
          <a:xfrm>
            <a:off x="1586813" y="1007370"/>
            <a:ext cx="4957720" cy="4957720"/>
            <a:chOff x="563891" y="1775585"/>
            <a:chExt cx="3718290" cy="371829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0DF1085-CF39-6677-CDC7-A84A4E981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891" y="1775585"/>
              <a:ext cx="3718290" cy="3718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29D268-89A7-8AB9-EFE9-6B992678B9A8}"/>
                </a:ext>
              </a:extLst>
            </p:cNvPr>
            <p:cNvSpPr/>
            <p:nvPr/>
          </p:nvSpPr>
          <p:spPr bwMode="auto">
            <a:xfrm>
              <a:off x="2917435" y="2935134"/>
              <a:ext cx="421078" cy="465288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994" indent="-239994">
                <a:spcBef>
                  <a:spcPts val="1067"/>
                </a:spcBef>
                <a:buFont typeface="Ericsson Hilda" panose="00000500000000000000" pitchFamily="2" charset="0"/>
                <a:buChar char="●"/>
              </a:pPr>
              <a:endParaRPr lang="en-US" sz="2400" err="1">
                <a:solidFill>
                  <a:srgbClr val="FFFFFF"/>
                </a:solidFill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3DB20BD-2E53-E738-91DA-025733DE27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0170" y="3261530"/>
            <a:ext cx="1015685" cy="1048369"/>
          </a:xfrm>
          <a:prstGeom prst="rect">
            <a:avLst/>
          </a:prstGeom>
        </p:spPr>
      </p:pic>
      <p:pic>
        <p:nvPicPr>
          <p:cNvPr id="8" name="Picture 4" descr="Configuration Management - Visualisation - YouTube">
            <a:extLst>
              <a:ext uri="{FF2B5EF4-FFF2-40B4-BE49-F238E27FC236}">
                <a16:creationId xmlns:a16="http://schemas.microsoft.com/office/drawing/2014/main" id="{D3E28529-A6E5-284A-3475-FCEE5DDBA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93" y="4537851"/>
            <a:ext cx="952691" cy="53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94D6AF2-D6DB-04F8-15B8-A9A8392524C0}"/>
              </a:ext>
            </a:extLst>
          </p:cNvPr>
          <p:cNvSpPr txBox="1"/>
          <p:nvPr/>
        </p:nvSpPr>
        <p:spPr>
          <a:xfrm>
            <a:off x="6200863" y="1837404"/>
            <a:ext cx="2228403" cy="1806113"/>
          </a:xfrm>
          <a:prstGeom prst="rect">
            <a:avLst/>
          </a:prstGeom>
        </p:spPr>
        <p:txBody>
          <a:bodyPr vert="horz" wrap="square" lIns="96000" tIns="48000" rIns="96000" bIns="48000" rtlCol="0" anchor="t">
            <a:noAutofit/>
          </a:bodyPr>
          <a:lstStyle/>
          <a:p>
            <a:pPr fontAlgn="base">
              <a:spcBef>
                <a:spcPts val="533"/>
              </a:spcBef>
              <a:spcAft>
                <a:spcPct val="0"/>
              </a:spcAft>
            </a:pPr>
            <a:r>
              <a:rPr lang="en-US" sz="1067" b="1" dirty="0">
                <a:cs typeface="Arial"/>
              </a:rPr>
              <a:t>Relation information: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Physical distance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Traffic exchanged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Footprint overlap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Relation parameters</a:t>
            </a: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46CB386A-E9F0-1A0D-54E7-898F366DB97D}"/>
              </a:ext>
            </a:extLst>
          </p:cNvPr>
          <p:cNvSpPr/>
          <p:nvPr/>
        </p:nvSpPr>
        <p:spPr bwMode="auto">
          <a:xfrm>
            <a:off x="8429265" y="3033501"/>
            <a:ext cx="194891" cy="2111856"/>
          </a:xfrm>
          <a:prstGeom prst="leftBrac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12F3845-7745-986C-FE61-657E8646F19E}"/>
              </a:ext>
            </a:extLst>
          </p:cNvPr>
          <p:cNvGrpSpPr/>
          <p:nvPr/>
        </p:nvGrpSpPr>
        <p:grpSpPr>
          <a:xfrm>
            <a:off x="8020583" y="1740359"/>
            <a:ext cx="2178932" cy="1177092"/>
            <a:chOff x="4117705" y="3552061"/>
            <a:chExt cx="2761553" cy="155397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1A8FEE0-9B65-05E2-86C9-D51FDDB080A2}"/>
                </a:ext>
              </a:extLst>
            </p:cNvPr>
            <p:cNvGrpSpPr/>
            <p:nvPr/>
          </p:nvGrpSpPr>
          <p:grpSpPr>
            <a:xfrm>
              <a:off x="4117705" y="3555637"/>
              <a:ext cx="2761553" cy="1550395"/>
              <a:chOff x="6420389" y="5201141"/>
              <a:chExt cx="2761553" cy="1550395"/>
            </a:xfrm>
          </p:grpSpPr>
          <p:pic>
            <p:nvPicPr>
              <p:cNvPr id="120" name="Picture 6" descr="3 Ways Aerial Imagery Can Be Used To Advance Sustainability | Nearmap US">
                <a:extLst>
                  <a:ext uri="{FF2B5EF4-FFF2-40B4-BE49-F238E27FC236}">
                    <a16:creationId xmlns:a16="http://schemas.microsoft.com/office/drawing/2014/main" id="{60F49663-E37D-0BC5-8B32-858628DCEC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27120" y="5201141"/>
                <a:ext cx="2754822" cy="15503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C4DA55CD-03F0-02C2-570E-78F4D5A09068}"/>
                  </a:ext>
                </a:extLst>
              </p:cNvPr>
              <p:cNvSpPr/>
              <p:nvPr/>
            </p:nvSpPr>
            <p:spPr bwMode="auto">
              <a:xfrm>
                <a:off x="6420389" y="5201141"/>
                <a:ext cx="2761553" cy="1550236"/>
              </a:xfrm>
              <a:prstGeom prst="rect">
                <a:avLst/>
              </a:prstGeom>
              <a:solidFill>
                <a:schemeClr val="tx2">
                  <a:lumMod val="75000"/>
                  <a:lumOff val="25000"/>
                  <a:alpha val="5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53E11FA-F4C9-5126-C53F-306986292AE5}"/>
                </a:ext>
              </a:extLst>
            </p:cNvPr>
            <p:cNvSpPr/>
            <p:nvPr/>
          </p:nvSpPr>
          <p:spPr bwMode="auto">
            <a:xfrm rot="13842107">
              <a:off x="4617056" y="3989277"/>
              <a:ext cx="797870" cy="970954"/>
            </a:xfrm>
            <a:prstGeom prst="triangle">
              <a:avLst>
                <a:gd name="adj" fmla="val 49856"/>
              </a:avLst>
            </a:prstGeom>
            <a:solidFill>
              <a:schemeClr val="accent1">
                <a:alpha val="4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994" indent="-239994">
                <a:spcBef>
                  <a:spcPts val="1067"/>
                </a:spcBef>
                <a:buFont typeface="Ericsson Hilda" panose="00000500000000000000" pitchFamily="2" charset="0"/>
                <a:buChar char="●"/>
              </a:pPr>
              <a:endParaRPr lang="en-US" sz="2400" err="1">
                <a:solidFill>
                  <a:srgbClr val="FFFFFF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E4910C8-86FE-39CD-8FB1-F8D40F44F84D}"/>
                </a:ext>
              </a:extLst>
            </p:cNvPr>
            <p:cNvGrpSpPr>
              <a:grpSpLocks noChangeAspect="1"/>
            </p:cNvGrpSpPr>
            <p:nvPr/>
          </p:nvGrpSpPr>
          <p:grpSpPr>
            <a:xfrm rot="6441090">
              <a:off x="5769828" y="3649795"/>
              <a:ext cx="502748" cy="502628"/>
              <a:chOff x="3510813" y="2637775"/>
              <a:chExt cx="2538066" cy="2537460"/>
            </a:xfrm>
            <a:solidFill>
              <a:schemeClr val="accent2">
                <a:lumMod val="40000"/>
                <a:lumOff val="60000"/>
                <a:alpha val="44000"/>
              </a:schemeClr>
            </a:solidFill>
          </p:grpSpPr>
          <p:sp>
            <p:nvSpPr>
              <p:cNvPr id="117" name="Partial Circle 116">
                <a:extLst>
                  <a:ext uri="{FF2B5EF4-FFF2-40B4-BE49-F238E27FC236}">
                    <a16:creationId xmlns:a16="http://schemas.microsoft.com/office/drawing/2014/main" id="{C4116A07-9CDF-2419-BEE1-AC4DC6CD0DD2}"/>
                  </a:ext>
                </a:extLst>
              </p:cNvPr>
              <p:cNvSpPr/>
              <p:nvPr/>
            </p:nvSpPr>
            <p:spPr bwMode="auto">
              <a:xfrm>
                <a:off x="3539375" y="2637775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Partial Circle 117">
                <a:extLst>
                  <a:ext uri="{FF2B5EF4-FFF2-40B4-BE49-F238E27FC236}">
                    <a16:creationId xmlns:a16="http://schemas.microsoft.com/office/drawing/2014/main" id="{6706D81B-E29D-3EA3-D723-608BAC35815D}"/>
                  </a:ext>
                </a:extLst>
              </p:cNvPr>
              <p:cNvSpPr/>
              <p:nvPr/>
            </p:nvSpPr>
            <p:spPr bwMode="auto">
              <a:xfrm rot="6112790">
                <a:off x="3547352" y="2637774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Partial Circle 118">
                <a:extLst>
                  <a:ext uri="{FF2B5EF4-FFF2-40B4-BE49-F238E27FC236}">
                    <a16:creationId xmlns:a16="http://schemas.microsoft.com/office/drawing/2014/main" id="{A9C9FAD8-757A-1293-1D7A-2E01A9E7A878}"/>
                  </a:ext>
                </a:extLst>
              </p:cNvPr>
              <p:cNvSpPr/>
              <p:nvPr/>
            </p:nvSpPr>
            <p:spPr bwMode="auto">
              <a:xfrm rot="14178660">
                <a:off x="3546746" y="2644411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936F122-C6E9-990C-286C-A5DEBCFA522B}"/>
                </a:ext>
              </a:extLst>
            </p:cNvPr>
            <p:cNvGrpSpPr>
              <a:grpSpLocks noChangeAspect="1"/>
            </p:cNvGrpSpPr>
            <p:nvPr/>
          </p:nvGrpSpPr>
          <p:grpSpPr>
            <a:xfrm rot="3291175">
              <a:off x="4381503" y="4535363"/>
              <a:ext cx="502748" cy="502628"/>
              <a:chOff x="3510813" y="2637775"/>
              <a:chExt cx="2538066" cy="2537460"/>
            </a:xfrm>
            <a:solidFill>
              <a:srgbClr val="85CCFF">
                <a:alpha val="44000"/>
              </a:srgbClr>
            </a:solidFill>
          </p:grpSpPr>
          <p:sp>
            <p:nvSpPr>
              <p:cNvPr id="114" name="Partial Circle 113">
                <a:extLst>
                  <a:ext uri="{FF2B5EF4-FFF2-40B4-BE49-F238E27FC236}">
                    <a16:creationId xmlns:a16="http://schemas.microsoft.com/office/drawing/2014/main" id="{B6749A8D-FFC0-9E8D-8984-0A90CB376585}"/>
                  </a:ext>
                </a:extLst>
              </p:cNvPr>
              <p:cNvSpPr/>
              <p:nvPr/>
            </p:nvSpPr>
            <p:spPr bwMode="auto">
              <a:xfrm>
                <a:off x="3539375" y="2637775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Partial Circle 114">
                <a:extLst>
                  <a:ext uri="{FF2B5EF4-FFF2-40B4-BE49-F238E27FC236}">
                    <a16:creationId xmlns:a16="http://schemas.microsoft.com/office/drawing/2014/main" id="{F2713733-1818-59CE-D414-B3D29632B5A9}"/>
                  </a:ext>
                </a:extLst>
              </p:cNvPr>
              <p:cNvSpPr/>
              <p:nvPr/>
            </p:nvSpPr>
            <p:spPr bwMode="auto">
              <a:xfrm rot="6112790">
                <a:off x="3547352" y="2637774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Partial Circle 115">
                <a:extLst>
                  <a:ext uri="{FF2B5EF4-FFF2-40B4-BE49-F238E27FC236}">
                    <a16:creationId xmlns:a16="http://schemas.microsoft.com/office/drawing/2014/main" id="{372D5840-F5DA-7B35-916A-952461186AA5}"/>
                  </a:ext>
                </a:extLst>
              </p:cNvPr>
              <p:cNvSpPr/>
              <p:nvPr/>
            </p:nvSpPr>
            <p:spPr bwMode="auto">
              <a:xfrm rot="14178660">
                <a:off x="3546746" y="2644411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01369A47-9153-C325-7D93-19E32FE1C1A6}"/>
                </a:ext>
              </a:extLst>
            </p:cNvPr>
            <p:cNvSpPr/>
            <p:nvPr/>
          </p:nvSpPr>
          <p:spPr bwMode="auto">
            <a:xfrm rot="3279738">
              <a:off x="5222868" y="3703823"/>
              <a:ext cx="797870" cy="970954"/>
            </a:xfrm>
            <a:prstGeom prst="triangle">
              <a:avLst>
                <a:gd name="adj" fmla="val 49856"/>
              </a:avLst>
            </a:prstGeom>
            <a:solidFill>
              <a:schemeClr val="accent2">
                <a:lumMod val="40000"/>
                <a:lumOff val="60000"/>
                <a:alpha val="4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994" indent="-239994">
                <a:spcBef>
                  <a:spcPts val="1067"/>
                </a:spcBef>
                <a:buFont typeface="Ericsson Hilda" panose="00000500000000000000" pitchFamily="2" charset="0"/>
                <a:buChar char="●"/>
              </a:pPr>
              <a:endParaRPr lang="en-US" sz="2400" err="1">
                <a:solidFill>
                  <a:srgbClr val="FFFFFF"/>
                </a:solidFill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475E309-9592-C26C-9E6F-A729569AD4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97656" y="3552061"/>
              <a:ext cx="2048356" cy="1433380"/>
              <a:chOff x="6949295" y="5226054"/>
              <a:chExt cx="1619661" cy="121965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C614E945-6F09-D625-AB3D-17CC3337052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25417" y="558663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F95A5C9-F2B4-5C53-3252-1616B0D40F2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36383" y="533886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38259C16-2C46-47DB-C21E-A6D381AD2A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72506" y="548218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2EE1C9B-4D26-4455-F100-067FD0A967C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03755" y="575200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58D029F9-2424-EE11-5929-B44D366959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98200" y="584426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9D62BBBC-1E41-735A-02D8-97FDCFC973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16534" y="579610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93609B1-54B3-62BF-4C78-B768099F38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88532" y="572647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449AEC6-4DEB-E90C-1D73-7637447724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79109" y="604388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700A8245-98D7-94CD-0520-CEA1271FDFD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31364" y="561506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8B913D02-8485-AEBF-B607-5392DF0EBBB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51088" y="600210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77E74788-8629-E80D-3A3C-22DCBD1169C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53772" y="572183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D86B2F41-7467-97C4-8ECF-68B6972CC5E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66136" y="623362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19F19DA-864A-35BD-82BC-AA3456E51AB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61614" y="560433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F54F6788-2E00-538E-9068-2817D7F80CF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85153" y="595626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200F2200-F29D-2451-1E66-ECD3B4D1495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42111" y="60694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50B4EF8-000C-50B3-263C-81D0D655954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25907" y="567541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ED8D375-4560-6687-9DC2-943E94A0C40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55232" y="618256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744EF19-3B70-EC71-0914-3E503DF4CF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96424" y="614136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45554F7-0B7A-0E64-7F4C-7D013EC0A97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17147" y="621795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AD8FFA8C-2480-F686-E97D-FC7D7495762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11138" y="622898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10AC0204-4A12-0227-BCBA-9AE80D23B11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76330" y="580662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0A327BF7-8330-0B75-B8F8-ACB5B1D9B4B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18567" y="598179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C186301D-496B-016A-0967-2371F6A6C4B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35003" y="612569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FD3E66E-9BC3-4BDE-C9D5-9E179D04A1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59104" y="578682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BE88E15D-98F9-4866-411C-7AAC4107339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57333" y="585413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9A0FA45-1B62-3EEE-114A-32EB38C7399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89940" y="537831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6F10435-3D34-4777-C786-23C5F1B3FD3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49195" y="572647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B1D110F-D307-2241-EDB2-73B2217E11F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71371" y="54154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91956B-6A28-1A81-C1CF-982F6F9FE4D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37218" y="536439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101634AE-D709-11F5-6786-13CD88AEF12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24950" y="54154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EE182FE1-EA6A-6A57-5F3C-53B99FE82A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97945" y="578450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3F31E95-11B8-9A22-D997-867228F8C7C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57333" y="550771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B626D147-7A09-8850-6DA9-38BC66AC96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02206" y="577318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0AAA8B2-A58A-3A23-DEB1-2A641B27F61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13173" y="552541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DE02C6A-93AB-F3B1-A670-5BDA2D1D639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49295" y="566874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D8AEB2F-EA38-FE46-DE99-9FA89A6BA97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80544" y="593856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F060364-71AC-1CC3-F227-BC14F12EBCF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74990" y="603082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602F786-5D18-E1EC-02E6-77A430F254A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93323" y="598266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960079F2-C2F7-FE31-14D9-87C03F8C9CE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65322" y="591303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33BCC4AD-8FAC-BD9D-6A8C-458D5708ECC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55899" y="623043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E946B87E-E11A-C91F-8397-970A55B2B75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08153" y="580162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1124E30B-82FE-320E-709E-169DACE49AC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27878" y="61886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3964C56D-AFC6-D400-E3E4-0053D7E1C44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30562" y="590839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952257D5-6F41-DF48-05E3-8E2EAA612DC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2925" y="642018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3847CB9E-AA65-7498-12F3-BFEEC8D1DB4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38404" y="579088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EF75B9C-56B1-DDE8-4914-0459DA7327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61942" y="614281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B0642BF3-98FF-3766-FABF-600B361F238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18901" y="625596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602F6EC-5AC1-B38F-4506-CB7FE95811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02697" y="586196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4022DA21-FE96-209D-5288-E660CDD3A4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51741" y="631805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F54E26BC-6068-6B64-1EBB-AA366289A8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48658" y="630456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DF74B78-EA24-8274-6EBF-7B680B1097C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93937" y="640451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E1C99A7-52C8-48EB-8308-53790DF1DDB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87928" y="641553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F60BAF37-3E0A-4A38-C7A5-36BB4EBC036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38037" y="602444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51F8BCF-8E34-FB96-3351-31AC69B5C5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5356" y="616834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5AF6295F-2D34-5C78-0661-9923146618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62252" y="624653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2183479D-331F-711B-AADA-6ECBE49C32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35893" y="597337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AC2ECA41-050A-73BC-B87E-A2795D24C6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34123" y="604069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61A2408E-E0F3-C9D7-C1A3-EC96D32EA1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66729" y="556487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9251614-4B21-7A38-0A70-A9CA4C54748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24849" y="589533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F989F33B-489B-B580-F667-2866DE463CF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48161" y="56020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2A732CCA-881A-799C-71F7-3C639EF0EF3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24950" y="552541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108BA80-BC1C-7E2A-8230-8244E34FFE2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01740" y="56020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7EA95CF4-99CA-6134-4CEE-252C2D3B00B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74735" y="597105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79AA9066-BA57-F637-D929-FAA2B28742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34123" y="569427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41B1D6D-4AA8-6A1F-BFA6-A635FB13EA2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649416" y="522605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43629301-B36F-99AB-FA88-FF3FEE209F2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820974" y="562461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FD01079C-976A-9E00-2F54-741391370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36445" y="532085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A2BC38B8-3C7B-097B-EAD4-0AACF51928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410626" y="57494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EAEE3934-E13F-27B3-3141-E8395F6364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767530" y="547528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94665CA7-E777-88BE-20CE-0D72C98B57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016560" y="572506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51A0617B-EDC5-1965-35CD-7DE438580E1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938075" y="542088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AAEAD85C-B429-C458-110C-54311457858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68849" y="571813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FCDBDAD3-D9AC-6B3A-4C13-2070DA1C9F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72820" y="56600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6C37FBD0-5446-BC23-9F4C-9648E38DEAB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438778" y="570412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0703EA18-DF02-02CE-629A-B2EE37131A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66123" y="578210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11B982D3-98D1-F4FE-F289-104ABB0547E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986942" y="555236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1F565022-2203-D03E-9D8F-FE3226932E8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16229" y="568857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D74B74C4-CE95-C04A-24FC-CCE6D7691E6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853103" y="573209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34324B8-8FD7-E053-47AB-37D5D047FD7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15301" y="524690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59322D0-12C2-5C49-F4BF-94CCE15825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90179" y="525860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8EFB2EFA-B118-B7E5-A5A0-F7B639C8539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625438" y="547099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A482E642-0839-3291-C00C-BBAA62A360E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754527" y="538191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063A1B87-BC31-F4CF-A331-E351556E9F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926084" y="578047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F66064D9-C4C1-053F-3E0D-AD49C40CF69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41555" y="547671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D56078FB-1C6C-F0B0-79F2-FB0AF2D68F8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515737" y="590532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34044D9B-2E31-F09F-296B-EE40AD5476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872640" y="563114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57C292B5-9DCF-5040-07D4-4E2F4E086C8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121671" y="588092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F5007F7-54B0-019F-AA80-3D7541AFC22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043185" y="557674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D717ECF-3C45-164C-AA9D-E6AE0825525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79892" y="588827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A0E3A8AE-91A6-4A45-F2BE-ABA55A011C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93331" y="594585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084F80B5-5CD2-2432-76F1-AF78A15D3E0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543888" y="585998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2CFFDC7-13B7-8F68-8534-E39C1D343C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471233" y="593796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33E3495B-20DB-3E5C-0C04-FC3DB6E03B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101229" y="574169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F874D005-48D7-92BB-CAC8-0D655A6ED3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65441" y="589318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DBE69D8-019B-A2C4-519E-147B8E353B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32552" y="545589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94DD5649-E3CB-B2AD-B00A-9CE1087F242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95290" y="541446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</p:grp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51E8E808-C42D-E04C-D066-A1A33BC9039A}"/>
              </a:ext>
            </a:extLst>
          </p:cNvPr>
          <p:cNvCxnSpPr>
            <a:cxnSpLocks/>
          </p:cNvCxnSpPr>
          <p:nvPr/>
        </p:nvCxnSpPr>
        <p:spPr bwMode="auto">
          <a:xfrm>
            <a:off x="7924219" y="4094684"/>
            <a:ext cx="46711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6379229C-B2F6-396D-73BA-DEB3A748427E}"/>
              </a:ext>
            </a:extLst>
          </p:cNvPr>
          <p:cNvSpPr/>
          <p:nvPr/>
        </p:nvSpPr>
        <p:spPr bwMode="auto">
          <a:xfrm>
            <a:off x="5263603" y="1875744"/>
            <a:ext cx="914400" cy="3108960"/>
          </a:xfrm>
          <a:custGeom>
            <a:avLst/>
            <a:gdLst>
              <a:gd name="connsiteX0" fmla="*/ 0 w 685800"/>
              <a:gd name="connsiteY0" fmla="*/ 510540 h 2331720"/>
              <a:gd name="connsiteX1" fmla="*/ 685800 w 685800"/>
              <a:gd name="connsiteY1" fmla="*/ 0 h 2331720"/>
              <a:gd name="connsiteX2" fmla="*/ 678180 w 685800"/>
              <a:gd name="connsiteY2" fmla="*/ 2331720 h 2331720"/>
              <a:gd name="connsiteX3" fmla="*/ 7620 w 685800"/>
              <a:gd name="connsiteY3" fmla="*/ 944880 h 2331720"/>
              <a:gd name="connsiteX4" fmla="*/ 0 w 685800"/>
              <a:gd name="connsiteY4" fmla="*/ 510540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" h="2331720">
                <a:moveTo>
                  <a:pt x="0" y="510540"/>
                </a:moveTo>
                <a:lnTo>
                  <a:pt x="685800" y="0"/>
                </a:lnTo>
                <a:lnTo>
                  <a:pt x="678180" y="2331720"/>
                </a:lnTo>
                <a:lnTo>
                  <a:pt x="7620" y="944880"/>
                </a:lnTo>
                <a:lnTo>
                  <a:pt x="0" y="5105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>
              <a:spcBef>
                <a:spcPts val="1067"/>
              </a:spcBef>
              <a:buFont typeface="Ericsson Hilda" panose="00000500000000000000" pitchFamily="2" charset="0"/>
              <a:buChar char="●"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9B41642D-A5B6-D868-6285-83122F033545}"/>
              </a:ext>
            </a:extLst>
          </p:cNvPr>
          <p:cNvSpPr/>
          <p:nvPr/>
        </p:nvSpPr>
        <p:spPr bwMode="auto">
          <a:xfrm>
            <a:off x="6178002" y="1585730"/>
            <a:ext cx="4194428" cy="3755655"/>
          </a:xfrm>
          <a:prstGeom prst="roundRect">
            <a:avLst>
              <a:gd name="adj" fmla="val 10080"/>
            </a:avLst>
          </a:prstGeom>
          <a:noFill/>
          <a:ln w="127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>
              <a:spcBef>
                <a:spcPts val="1067"/>
              </a:spcBef>
              <a:buFont typeface="Ericsson Hilda" panose="00000500000000000000" pitchFamily="2" charset="0"/>
              <a:buChar char="●"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C402E41-C9B9-66EC-0E56-F978B83B7C6A}"/>
              </a:ext>
            </a:extLst>
          </p:cNvPr>
          <p:cNvSpPr txBox="1"/>
          <p:nvPr/>
        </p:nvSpPr>
        <p:spPr>
          <a:xfrm>
            <a:off x="8569919" y="3049160"/>
            <a:ext cx="1350992" cy="211901"/>
          </a:xfrm>
          <a:prstGeom prst="rect">
            <a:avLst/>
          </a:prstGeom>
        </p:spPr>
        <p:txBody>
          <a:bodyPr vert="horz" wrap="square" lIns="96000" tIns="48000" rIns="96000" bIns="48000" rtlCol="0" anchor="t">
            <a:noAutofit/>
          </a:bodyPr>
          <a:lstStyle/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933" kern="1000" spc="-40">
                <a:latin typeface="Ericsson Hilda"/>
              </a:rPr>
              <a:t>Performance metric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694CDC09-FAB9-912D-EC75-452FE2D9397D}"/>
              </a:ext>
            </a:extLst>
          </p:cNvPr>
          <p:cNvSpPr txBox="1"/>
          <p:nvPr/>
        </p:nvSpPr>
        <p:spPr>
          <a:xfrm>
            <a:off x="8623444" y="4334107"/>
            <a:ext cx="1011851" cy="213592"/>
          </a:xfrm>
          <a:prstGeom prst="rect">
            <a:avLst/>
          </a:prstGeom>
        </p:spPr>
        <p:txBody>
          <a:bodyPr vert="horz" wrap="square" lIns="96000" tIns="48000" rIns="96000" bIns="48000" rtlCol="0" anchor="t">
            <a:noAutofit/>
          </a:bodyPr>
          <a:lstStyle/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933" kern="1000" spc="-40">
                <a:latin typeface="Ericsson Hilda"/>
              </a:rPr>
              <a:t>Configuration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2DED6D55-0A0B-B8F7-F920-8B163947B382}"/>
              </a:ext>
            </a:extLst>
          </p:cNvPr>
          <p:cNvGrpSpPr/>
          <p:nvPr/>
        </p:nvGrpSpPr>
        <p:grpSpPr>
          <a:xfrm>
            <a:off x="6349266" y="3513620"/>
            <a:ext cx="1481685" cy="1703837"/>
            <a:chOff x="3916478" y="3584890"/>
            <a:chExt cx="1111264" cy="1277878"/>
          </a:xfrm>
        </p:grpSpPr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13E6FA4-8BB2-181E-4445-43D66D9A62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24722" y="3606956"/>
              <a:ext cx="1100437" cy="1242740"/>
              <a:chOff x="4331507" y="3566162"/>
              <a:chExt cx="1335304" cy="1507980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5162214-2961-E39A-3F94-D890F5B6FDA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48967" y="3566162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EF971A50-0CE4-8239-2671-DAD8D4E8B5C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483931" y="3945141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0FA1BF3D-70E8-E2DA-5B48-C445FA914F9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63278" y="3808584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8E8F08CD-C63C-36CB-F8A7-EFF9A42E1E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46052" y="4518606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48FAD22D-67B5-BF84-5121-76A8865737FB}"/>
                  </a:ext>
                </a:extLst>
              </p:cNvPr>
              <p:cNvCxnSpPr>
                <a:cxnSpLocks/>
                <a:stCxn id="137" idx="5"/>
                <a:endCxn id="138" idx="1"/>
              </p:cNvCxnSpPr>
              <p:nvPr/>
            </p:nvCxnSpPr>
            <p:spPr bwMode="auto">
              <a:xfrm>
                <a:off x="4819376" y="3964682"/>
                <a:ext cx="453458" cy="580706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1FF7B02-BD3F-7576-E089-3010FC199688}"/>
                  </a:ext>
                </a:extLst>
              </p:cNvPr>
              <p:cNvCxnSpPr>
                <a:cxnSpLocks/>
                <a:stCxn id="137" idx="5"/>
                <a:endCxn id="152" idx="1"/>
              </p:cNvCxnSpPr>
              <p:nvPr/>
            </p:nvCxnSpPr>
            <p:spPr bwMode="auto">
              <a:xfrm>
                <a:off x="4819376" y="3964682"/>
                <a:ext cx="501816" cy="31430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C4C23C6-9E11-4F27-D180-83228783E420}"/>
                  </a:ext>
                </a:extLst>
              </p:cNvPr>
              <p:cNvCxnSpPr>
                <a:cxnSpLocks/>
                <a:stCxn id="137" idx="5"/>
                <a:endCxn id="136" idx="2"/>
              </p:cNvCxnSpPr>
              <p:nvPr/>
            </p:nvCxnSpPr>
            <p:spPr bwMode="auto">
              <a:xfrm>
                <a:off x="4819376" y="3964682"/>
                <a:ext cx="664555" cy="71899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52D9D382-4F00-5418-C123-4A086F10B518}"/>
                  </a:ext>
                </a:extLst>
              </p:cNvPr>
              <p:cNvCxnSpPr>
                <a:cxnSpLocks/>
                <a:stCxn id="137" idx="7"/>
                <a:endCxn id="135" idx="3"/>
              </p:cNvCxnSpPr>
              <p:nvPr/>
            </p:nvCxnSpPr>
            <p:spPr bwMode="auto">
              <a:xfrm flipV="1">
                <a:off x="4819376" y="3722260"/>
                <a:ext cx="356373" cy="113106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12FE7F55-3524-533E-2B23-997ECED0123D}"/>
                  </a:ext>
                </a:extLst>
              </p:cNvPr>
              <p:cNvCxnSpPr>
                <a:stCxn id="135" idx="5"/>
                <a:endCxn id="136" idx="1"/>
              </p:cNvCxnSpPr>
              <p:nvPr/>
            </p:nvCxnSpPr>
            <p:spPr bwMode="auto">
              <a:xfrm>
                <a:off x="5305065" y="3722260"/>
                <a:ext cx="205648" cy="249663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A9720703-4E99-B37D-E0A2-0D2792F91ADD}"/>
                  </a:ext>
                </a:extLst>
              </p:cNvPr>
              <p:cNvCxnSpPr>
                <a:stCxn id="135" idx="4"/>
                <a:endCxn id="152" idx="0"/>
              </p:cNvCxnSpPr>
              <p:nvPr/>
            </p:nvCxnSpPr>
            <p:spPr bwMode="auto">
              <a:xfrm>
                <a:off x="5240407" y="3749042"/>
                <a:ext cx="145443" cy="503162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49B94CC4-DA85-2142-F00B-C7138A717ABA}"/>
                  </a:ext>
                </a:extLst>
              </p:cNvPr>
              <p:cNvCxnSpPr>
                <a:cxnSpLocks/>
                <a:stCxn id="135" idx="4"/>
                <a:endCxn id="138" idx="1"/>
              </p:cNvCxnSpPr>
              <p:nvPr/>
            </p:nvCxnSpPr>
            <p:spPr bwMode="auto">
              <a:xfrm>
                <a:off x="5240407" y="3749042"/>
                <a:ext cx="32427" cy="796346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C4E1E15B-4092-1F65-0EED-D273761CB9A9}"/>
                  </a:ext>
                </a:extLst>
              </p:cNvPr>
              <p:cNvCxnSpPr>
                <a:cxnSpLocks/>
                <a:stCxn id="136" idx="3"/>
                <a:endCxn id="152" idx="0"/>
              </p:cNvCxnSpPr>
              <p:nvPr/>
            </p:nvCxnSpPr>
            <p:spPr bwMode="auto">
              <a:xfrm flipH="1">
                <a:off x="5385850" y="4101239"/>
                <a:ext cx="124863" cy="150965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EA5BFC38-6238-E2A3-4893-67E123303488}"/>
                  </a:ext>
                </a:extLst>
              </p:cNvPr>
              <p:cNvCxnSpPr>
                <a:cxnSpLocks/>
                <a:stCxn id="136" idx="3"/>
                <a:endCxn id="138" idx="7"/>
              </p:cNvCxnSpPr>
              <p:nvPr/>
            </p:nvCxnSpPr>
            <p:spPr bwMode="auto">
              <a:xfrm flipH="1">
                <a:off x="5402150" y="4101239"/>
                <a:ext cx="108563" cy="444149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761513F2-9F37-52FB-E48B-B027A4BC4C9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31507" y="4891262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DDFCEB27-6C1E-6EAB-D69A-01650D0A5C14}"/>
                  </a:ext>
                </a:extLst>
              </p:cNvPr>
              <p:cNvCxnSpPr>
                <a:stCxn id="148" idx="0"/>
                <a:endCxn id="137" idx="4"/>
              </p:cNvCxnSpPr>
              <p:nvPr/>
            </p:nvCxnSpPr>
            <p:spPr bwMode="auto">
              <a:xfrm flipV="1">
                <a:off x="4422947" y="3991464"/>
                <a:ext cx="331771" cy="899798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3AB386E8-B2ED-42BE-9183-474A6B684639}"/>
                  </a:ext>
                </a:extLst>
              </p:cNvPr>
              <p:cNvCxnSpPr>
                <a:stCxn id="148" idx="7"/>
                <a:endCxn id="152" idx="3"/>
              </p:cNvCxnSpPr>
              <p:nvPr/>
            </p:nvCxnSpPr>
            <p:spPr bwMode="auto">
              <a:xfrm flipV="1">
                <a:off x="4487605" y="4408302"/>
                <a:ext cx="833587" cy="509742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2B0103F-3C45-7724-266E-A78761933F48}"/>
                  </a:ext>
                </a:extLst>
              </p:cNvPr>
              <p:cNvCxnSpPr>
                <a:stCxn id="148" idx="7"/>
                <a:endCxn id="138" idx="2"/>
              </p:cNvCxnSpPr>
              <p:nvPr/>
            </p:nvCxnSpPr>
            <p:spPr bwMode="auto">
              <a:xfrm flipV="1">
                <a:off x="4487605" y="4610046"/>
                <a:ext cx="758447" cy="307998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405088D4-976E-7E58-6444-331CF1CA7FE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94410" y="4252204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7425894B-88F4-039E-3442-87E5D6FC236D}"/>
                </a:ext>
              </a:extLst>
            </p:cNvPr>
            <p:cNvSpPr txBox="1"/>
            <p:nvPr/>
          </p:nvSpPr>
          <p:spPr>
            <a:xfrm>
              <a:off x="4196417" y="3782346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A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38ABDBB-19AE-A4A5-4210-5036142D105B}"/>
                </a:ext>
              </a:extLst>
            </p:cNvPr>
            <p:cNvSpPr txBox="1"/>
            <p:nvPr/>
          </p:nvSpPr>
          <p:spPr>
            <a:xfrm>
              <a:off x="3916478" y="4676182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B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13D8123-BA77-BDEB-CD23-61D4216100A8}"/>
                </a:ext>
              </a:extLst>
            </p:cNvPr>
            <p:cNvSpPr txBox="1"/>
            <p:nvPr/>
          </p:nvSpPr>
          <p:spPr>
            <a:xfrm>
              <a:off x="4595114" y="3584890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C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54AEF570-2162-0D67-662B-8440758B1472}"/>
                </a:ext>
              </a:extLst>
            </p:cNvPr>
            <p:cNvSpPr txBox="1"/>
            <p:nvPr/>
          </p:nvSpPr>
          <p:spPr>
            <a:xfrm>
              <a:off x="4870617" y="3896676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D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F6D58198-39CC-B4B2-B729-1CA0466E8D36}"/>
                </a:ext>
              </a:extLst>
            </p:cNvPr>
            <p:cNvSpPr txBox="1"/>
            <p:nvPr/>
          </p:nvSpPr>
          <p:spPr>
            <a:xfrm>
              <a:off x="4713435" y="4147874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42F664D3-2FE3-0883-D242-21FE86913545}"/>
                </a:ext>
              </a:extLst>
            </p:cNvPr>
            <p:cNvSpPr txBox="1"/>
            <p:nvPr/>
          </p:nvSpPr>
          <p:spPr>
            <a:xfrm>
              <a:off x="4677297" y="4372117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F</a:t>
              </a:r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C919735-2DB8-E429-B310-8980D8E66936}"/>
              </a:ext>
            </a:extLst>
          </p:cNvPr>
          <p:cNvSpPr/>
          <p:nvPr/>
        </p:nvSpPr>
        <p:spPr>
          <a:xfrm>
            <a:off x="1524337" y="789693"/>
            <a:ext cx="4915447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</a:rPr>
              <a:t>Digital Twin</a:t>
            </a:r>
          </a:p>
          <a:p>
            <a:pPr algn="ctr"/>
            <a:r>
              <a:rPr lang="en-US" sz="1400" kern="1000" spc="-40" dirty="0">
                <a:solidFill>
                  <a:srgbClr val="181818"/>
                </a:solidFill>
              </a:rPr>
              <a:t>Apply Graph Neural Network (GNN) to accurately model radio cellular network relations &amp; configurations</a:t>
            </a:r>
            <a:endParaRPr lang="en-US" sz="1400" dirty="0"/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0EE6685F-B7A5-7C72-37F2-708597ADBEBC}"/>
              </a:ext>
            </a:extLst>
          </p:cNvPr>
          <p:cNvCxnSpPr>
            <a:cxnSpLocks/>
          </p:cNvCxnSpPr>
          <p:nvPr/>
        </p:nvCxnSpPr>
        <p:spPr bwMode="auto">
          <a:xfrm>
            <a:off x="6892426" y="3074285"/>
            <a:ext cx="175701" cy="43192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95D1BC53-1A9D-9DD4-0D3B-AF65D3F81A98}"/>
              </a:ext>
            </a:extLst>
          </p:cNvPr>
          <p:cNvSpPr/>
          <p:nvPr/>
        </p:nvSpPr>
        <p:spPr bwMode="auto">
          <a:xfrm>
            <a:off x="6188775" y="5551130"/>
            <a:ext cx="1102781" cy="718551"/>
          </a:xfrm>
          <a:prstGeom prst="roundRect">
            <a:avLst/>
          </a:prstGeom>
          <a:solidFill>
            <a:srgbClr val="0082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76239" indent="-476239" defTabSz="1219170" fontAlgn="base">
              <a:spcBef>
                <a:spcPts val="400"/>
              </a:spcBef>
              <a:spcAft>
                <a:spcPct val="0"/>
              </a:spcAft>
              <a:buFont typeface="Ericsson Hilda" panose="00000500000000000000" pitchFamily="2" charset="0"/>
              <a:buChar char="—"/>
            </a:pPr>
            <a:endParaRPr lang="en-US" sz="2667">
              <a:solidFill>
                <a:schemeClr val="bg1"/>
              </a:solidFill>
            </a:endParaRPr>
          </a:p>
        </p:txBody>
      </p:sp>
      <p:sp>
        <p:nvSpPr>
          <p:cNvPr id="156" name="Rectangle: Rounded Corners 155">
            <a:extLst>
              <a:ext uri="{FF2B5EF4-FFF2-40B4-BE49-F238E27FC236}">
                <a16:creationId xmlns:a16="http://schemas.microsoft.com/office/drawing/2014/main" id="{361000F8-1DB7-5CFC-3246-1ED9788EAA24}"/>
              </a:ext>
            </a:extLst>
          </p:cNvPr>
          <p:cNvSpPr/>
          <p:nvPr/>
        </p:nvSpPr>
        <p:spPr bwMode="auto">
          <a:xfrm>
            <a:off x="120328" y="5583827"/>
            <a:ext cx="1102781" cy="718551"/>
          </a:xfrm>
          <a:prstGeom prst="roundRect">
            <a:avLst/>
          </a:prstGeom>
          <a:solidFill>
            <a:srgbClr val="0082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76239" indent="-476239" defTabSz="1219170" fontAlgn="base">
              <a:spcBef>
                <a:spcPts val="400"/>
              </a:spcBef>
              <a:spcAft>
                <a:spcPct val="0"/>
              </a:spcAft>
              <a:buFont typeface="Ericsson Hilda" panose="00000500000000000000" pitchFamily="2" charset="0"/>
              <a:buChar char="—"/>
            </a:pPr>
            <a:endParaRPr lang="en-US" sz="2667">
              <a:solidFill>
                <a:schemeClr val="bg1"/>
              </a:solidFill>
            </a:endParaRPr>
          </a:p>
        </p:txBody>
      </p:sp>
      <p:pic>
        <p:nvPicPr>
          <p:cNvPr id="157" name="Picture Placeholder 39">
            <a:extLst>
              <a:ext uri="{FF2B5EF4-FFF2-40B4-BE49-F238E27FC236}">
                <a16:creationId xmlns:a16="http://schemas.microsoft.com/office/drawing/2014/main" id="{F57F5EE1-A853-E15C-317C-88A33E1DE1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" b="110"/>
          <a:stretch>
            <a:fillRect/>
          </a:stretch>
        </p:blipFill>
        <p:spPr>
          <a:xfrm>
            <a:off x="6433315" y="5626301"/>
            <a:ext cx="585287" cy="585287"/>
          </a:xfrm>
          <a:prstGeom prst="rect">
            <a:avLst/>
          </a:prstGeom>
        </p:spPr>
      </p:pic>
      <p:pic>
        <p:nvPicPr>
          <p:cNvPr id="158" name="Picture Placeholder 29">
            <a:extLst>
              <a:ext uri="{FF2B5EF4-FFF2-40B4-BE49-F238E27FC236}">
                <a16:creationId xmlns:a16="http://schemas.microsoft.com/office/drawing/2014/main" id="{52155BDB-0A83-772F-AAC5-4B6CC5890F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73" b="73"/>
          <a:stretch>
            <a:fillRect/>
          </a:stretch>
        </p:blipFill>
        <p:spPr>
          <a:xfrm>
            <a:off x="311809" y="5638385"/>
            <a:ext cx="651683" cy="651683"/>
          </a:xfrm>
          <a:prstGeom prst="rect">
            <a:avLst/>
          </a:prstGeom>
        </p:spPr>
      </p:pic>
      <p:sp>
        <p:nvSpPr>
          <p:cNvPr id="159" name="TextBox 158">
            <a:extLst>
              <a:ext uri="{FF2B5EF4-FFF2-40B4-BE49-F238E27FC236}">
                <a16:creationId xmlns:a16="http://schemas.microsoft.com/office/drawing/2014/main" id="{E35D4AE8-788A-ABA1-E3E3-051F754388A5}"/>
              </a:ext>
            </a:extLst>
          </p:cNvPr>
          <p:cNvSpPr txBox="1"/>
          <p:nvPr/>
        </p:nvSpPr>
        <p:spPr>
          <a:xfrm>
            <a:off x="1203354" y="5558734"/>
            <a:ext cx="4570532" cy="687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933" algn="just">
              <a:spcBef>
                <a:spcPts val="867"/>
              </a:spcBef>
            </a:pPr>
            <a:r>
              <a:rPr lang="en-US" sz="1067" b="1" dirty="0">
                <a:cs typeface="Arial"/>
              </a:rPr>
              <a:t>Accurate modeling of real cellular network behavior</a:t>
            </a:r>
          </a:p>
          <a:p>
            <a:pPr marL="16933" algn="just"/>
            <a:r>
              <a:rPr lang="en-US" sz="933" dirty="0">
                <a:cs typeface="Arial"/>
              </a:rPr>
              <a:t>GNN architecture provides a native way of modelling cellular network interactions. The framework being developed will make the optimizer development process very straight forward and intuitive.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0DFBEA14-CF4B-2535-C149-F24DCC354B6E}"/>
              </a:ext>
            </a:extLst>
          </p:cNvPr>
          <p:cNvSpPr txBox="1"/>
          <p:nvPr/>
        </p:nvSpPr>
        <p:spPr>
          <a:xfrm>
            <a:off x="7382768" y="5559594"/>
            <a:ext cx="4606568" cy="7026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272"/>
              </a:spcBef>
            </a:pPr>
            <a:r>
              <a:rPr lang="en-US" sz="1067" b="1" spc="-13" dirty="0">
                <a:cs typeface="Arial"/>
              </a:rPr>
              <a:t>Digital Twin</a:t>
            </a:r>
            <a:endParaRPr lang="en-US" sz="1067" dirty="0">
              <a:cs typeface="Arial"/>
            </a:endParaRPr>
          </a:p>
          <a:p>
            <a:pPr marR="6773" algn="just">
              <a:lnSpc>
                <a:spcPct val="104600"/>
              </a:lnSpc>
              <a:spcBef>
                <a:spcPts val="13"/>
              </a:spcBef>
            </a:pPr>
            <a:r>
              <a:rPr lang="en-US" sz="933" dirty="0">
                <a:cs typeface="Arial"/>
              </a:rPr>
              <a:t>GNN optimizer modelling enable the finding of the optimal configuration without the need of interacting with the live network by emulating radio network performance functionality from real network data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CE1CAB05-883D-DD81-176C-F5450D0DBC3B}"/>
              </a:ext>
            </a:extLst>
          </p:cNvPr>
          <p:cNvSpPr/>
          <p:nvPr/>
        </p:nvSpPr>
        <p:spPr>
          <a:xfrm>
            <a:off x="6423264" y="719014"/>
            <a:ext cx="3845907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</a:rPr>
              <a:t>Encode Network Data</a:t>
            </a:r>
          </a:p>
          <a:p>
            <a:pPr algn="ctr"/>
            <a:r>
              <a:rPr lang="en-US" sz="1400" kern="1000" spc="-40" dirty="0">
                <a:solidFill>
                  <a:srgbClr val="181818"/>
                </a:solidFill>
              </a:rPr>
              <a:t>Generic parameter framework to emulate effect on network performance indicato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72580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5CA64-8528-FEDC-0C08-806D48013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 a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282F78-7DFA-51D1-5325-4D306720E6B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6870"/>
          <a:stretch/>
        </p:blipFill>
        <p:spPr>
          <a:xfrm>
            <a:off x="536141" y="1557338"/>
            <a:ext cx="11119718" cy="40124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BFE6A7-8C67-ABEB-9A4F-D4DA5352C184}"/>
              </a:ext>
            </a:extLst>
          </p:cNvPr>
          <p:cNvSpPr txBox="1"/>
          <p:nvPr/>
        </p:nvSpPr>
        <p:spPr>
          <a:xfrm>
            <a:off x="479424" y="6261652"/>
            <a:ext cx="5901497" cy="258418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4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https://ericsson.github.io/cognitive-labs/</a:t>
            </a:r>
          </a:p>
        </p:txBody>
      </p:sp>
    </p:spTree>
    <p:extLst>
      <p:ext uri="{BB962C8B-B14F-4D97-AF65-F5344CB8AC3E}">
        <p14:creationId xmlns:p14="http://schemas.microsoft.com/office/powerpoint/2010/main" val="20558467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D9CE653-1957-B3B7-EA86-0D4BFE10EE7A}"/>
              </a:ext>
            </a:extLst>
          </p:cNvPr>
          <p:cNvGrpSpPr/>
          <p:nvPr/>
        </p:nvGrpSpPr>
        <p:grpSpPr>
          <a:xfrm>
            <a:off x="4087117" y="1182470"/>
            <a:ext cx="4130361" cy="2637459"/>
            <a:chOff x="4085636" y="1037934"/>
            <a:chExt cx="4130361" cy="2637459"/>
          </a:xfrm>
        </p:grpSpPr>
        <p:sp>
          <p:nvSpPr>
            <p:cNvPr id="106" name="Circular Arrow 87">
              <a:extLst>
                <a:ext uri="{FF2B5EF4-FFF2-40B4-BE49-F238E27FC236}">
                  <a16:creationId xmlns:a16="http://schemas.microsoft.com/office/drawing/2014/main" id="{DD09C8C4-90D8-DAC1-1F02-62561D32D6B3}"/>
                </a:ext>
              </a:extLst>
            </p:cNvPr>
            <p:cNvSpPr/>
            <p:nvPr/>
          </p:nvSpPr>
          <p:spPr bwMode="auto">
            <a:xfrm>
              <a:off x="4085636" y="1037934"/>
              <a:ext cx="4130361" cy="2637459"/>
            </a:xfrm>
            <a:prstGeom prst="circularArrow">
              <a:avLst>
                <a:gd name="adj1" fmla="val 2816"/>
                <a:gd name="adj2" fmla="val 414296"/>
                <a:gd name="adj3" fmla="val 20387015"/>
                <a:gd name="adj4" fmla="val 11914307"/>
                <a:gd name="adj5" fmla="val 7129"/>
              </a:avLst>
            </a:prstGeom>
            <a:solidFill>
              <a:schemeClr val="accent5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dirty="0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9FB8E97-B92A-AFF0-7765-9C330092A2CA}"/>
                </a:ext>
              </a:extLst>
            </p:cNvPr>
            <p:cNvSpPr txBox="1"/>
            <p:nvPr/>
          </p:nvSpPr>
          <p:spPr bwMode="auto">
            <a:xfrm>
              <a:off x="5073468" y="1420616"/>
              <a:ext cx="2229578" cy="54212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70AD47"/>
                </a:buClr>
                <a:defRPr/>
              </a:pPr>
              <a:r>
                <a:rPr lang="en-US" sz="1400" dirty="0">
                  <a:latin typeface="Ericsson Hilda Light" panose="00000400000000000000" pitchFamily="2" charset="0"/>
                </a:rPr>
                <a:t>1.    Predict SINR with</a:t>
              </a:r>
            </a:p>
            <a:p>
              <a:pPr indent="346066" defTabSz="914377">
                <a:buClr>
                  <a:srgbClr val="181818"/>
                </a:buClr>
                <a:defRPr/>
              </a:pPr>
              <a:r>
                <a:rPr lang="en-US" sz="1400" dirty="0">
                  <a:latin typeface="Ericsson Hilda Light" panose="00000400000000000000" pitchFamily="2" charset="0"/>
                </a:rPr>
                <a:t>current parameters</a:t>
              </a:r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9E5226B6-73E8-0F37-CF87-647F0A5E8BD8}"/>
              </a:ext>
            </a:extLst>
          </p:cNvPr>
          <p:cNvSpPr txBox="1"/>
          <p:nvPr/>
        </p:nvSpPr>
        <p:spPr bwMode="auto">
          <a:xfrm>
            <a:off x="5078581" y="5868898"/>
            <a:ext cx="3047060" cy="58233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2000" tIns="36000" rIns="73152" bIns="36576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2F0"/>
              </a:buClr>
              <a:buSzTx/>
              <a:buFont typeface="+mj-lt"/>
              <a:buAutoNum type="arabicPeriod"/>
              <a:tabLst/>
              <a:defRPr kumimoji="0" sz="1600" b="0" i="0" u="none" strike="noStrike" kern="0" cap="none" spc="0" normalizeH="0" baseline="0">
                <a:ln>
                  <a:noFill/>
                </a:ln>
                <a:solidFill>
                  <a:srgbClr val="0082F0"/>
                </a:solidFill>
                <a:effectLst/>
                <a:uLnTx/>
                <a:uFillTx/>
              </a:defRPr>
            </a:lvl1pPr>
          </a:lstStyle>
          <a:p>
            <a:pPr marL="0" indent="0">
              <a:buClr>
                <a:srgbClr val="70AD47">
                  <a:lumMod val="75000"/>
                </a:srgbClr>
              </a:buClr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Ericsson Hilda Light" panose="00000400000000000000" pitchFamily="2" charset="0"/>
              </a:rPr>
              <a:t>2.    </a:t>
            </a:r>
            <a:r>
              <a:rPr lang="en-US" sz="1400" dirty="0">
                <a:solidFill>
                  <a:sysClr val="windowText" lastClr="000000"/>
                </a:solidFill>
                <a:latin typeface="Ericsson Hilda Light" panose="00000400000000000000" pitchFamily="2" charset="0"/>
              </a:rPr>
              <a:t>Alter power parameters until </a:t>
            </a:r>
            <a:endParaRPr lang="en-US" sz="1400" dirty="0">
              <a:solidFill>
                <a:prstClr val="black"/>
              </a:solidFill>
              <a:latin typeface="Ericsson Hilda Light" panose="00000400000000000000" pitchFamily="2" charset="0"/>
            </a:endParaRPr>
          </a:p>
          <a:p>
            <a:pPr marL="0" indent="346066">
              <a:buClr>
                <a:srgbClr val="181818"/>
              </a:buClr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Ericsson Hilda Light" panose="00000400000000000000" pitchFamily="2" charset="0"/>
              </a:rPr>
              <a:t>predicted SINR is maximized</a:t>
            </a:r>
          </a:p>
          <a:p>
            <a:pPr marL="0" indent="0" defTabSz="914377">
              <a:buClr>
                <a:srgbClr val="0062B4"/>
              </a:buClr>
              <a:buNone/>
              <a:defRPr/>
            </a:pPr>
            <a:endParaRPr lang="en-US" dirty="0">
              <a:solidFill>
                <a:sysClr val="windowText" lastClr="000000"/>
              </a:solidFill>
              <a:latin typeface="Ericsson Hilda Light" panose="00000400000000000000" pitchFamily="2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A2A697B5-4915-801B-065B-5D71970E4ACD}"/>
              </a:ext>
            </a:extLst>
          </p:cNvPr>
          <p:cNvGrpSpPr/>
          <p:nvPr/>
        </p:nvGrpSpPr>
        <p:grpSpPr>
          <a:xfrm>
            <a:off x="797318" y="2882378"/>
            <a:ext cx="3144876" cy="3190660"/>
            <a:chOff x="969302" y="2737842"/>
            <a:chExt cx="3144876" cy="3190660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E59CA10-6908-33AE-BCCF-64FC5F090E32}"/>
                </a:ext>
              </a:extLst>
            </p:cNvPr>
            <p:cNvSpPr txBox="1"/>
            <p:nvPr/>
          </p:nvSpPr>
          <p:spPr bwMode="auto">
            <a:xfrm>
              <a:off x="1122458" y="2737842"/>
              <a:ext cx="828064" cy="3182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82F0"/>
                  </a:solidFill>
                  <a:latin typeface="Ericsson Hilda Light" panose="00000400000000000000" pitchFamily="2" charset="0"/>
                </a:rPr>
                <a:t>[-92, 9]</a:t>
              </a:r>
            </a:p>
          </p:txBody>
        </p:sp>
        <p:sp>
          <p:nvSpPr>
            <p:cNvPr id="111" name="Right Arrow 6">
              <a:extLst>
                <a:ext uri="{FF2B5EF4-FFF2-40B4-BE49-F238E27FC236}">
                  <a16:creationId xmlns:a16="http://schemas.microsoft.com/office/drawing/2014/main" id="{84852F92-A1B7-18F8-C4D1-04A6A8F2885F}"/>
                </a:ext>
              </a:extLst>
            </p:cNvPr>
            <p:cNvSpPr/>
            <p:nvPr/>
          </p:nvSpPr>
          <p:spPr bwMode="auto">
            <a:xfrm>
              <a:off x="969302" y="2815117"/>
              <a:ext cx="201749" cy="131665"/>
            </a:xfrm>
            <a:prstGeom prst="rightArrow">
              <a:avLst/>
            </a:prstGeom>
            <a:solidFill>
              <a:srgbClr val="0082F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F977C77-16F6-EC5C-156A-A1B0C40EED1F}"/>
                </a:ext>
              </a:extLst>
            </p:cNvPr>
            <p:cNvSpPr txBox="1"/>
            <p:nvPr/>
          </p:nvSpPr>
          <p:spPr bwMode="auto">
            <a:xfrm>
              <a:off x="3334871" y="5659907"/>
              <a:ext cx="779307" cy="26859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82F0"/>
                  </a:solidFill>
                  <a:latin typeface="Ericsson Hilda Light" panose="00000400000000000000" pitchFamily="2" charset="0"/>
                </a:rPr>
                <a:t>[-88, 9]</a:t>
              </a:r>
            </a:p>
          </p:txBody>
        </p:sp>
        <p:sp>
          <p:nvSpPr>
            <p:cNvPr id="113" name="Right Arrow 6">
              <a:extLst>
                <a:ext uri="{FF2B5EF4-FFF2-40B4-BE49-F238E27FC236}">
                  <a16:creationId xmlns:a16="http://schemas.microsoft.com/office/drawing/2014/main" id="{3CCEED6A-326C-9000-5A3E-78B32493C755}"/>
                </a:ext>
              </a:extLst>
            </p:cNvPr>
            <p:cNvSpPr/>
            <p:nvPr/>
          </p:nvSpPr>
          <p:spPr bwMode="auto">
            <a:xfrm rot="5400000">
              <a:off x="3619245" y="5504872"/>
              <a:ext cx="201749" cy="131665"/>
            </a:xfrm>
            <a:prstGeom prst="rightArrow">
              <a:avLst/>
            </a:prstGeom>
            <a:solidFill>
              <a:srgbClr val="0082F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5B5C8BA1-93E5-31F8-B2D4-E7130FEDA6F8}"/>
              </a:ext>
            </a:extLst>
          </p:cNvPr>
          <p:cNvGrpSpPr/>
          <p:nvPr/>
        </p:nvGrpSpPr>
        <p:grpSpPr>
          <a:xfrm>
            <a:off x="7970130" y="2583665"/>
            <a:ext cx="4098359" cy="3429331"/>
            <a:chOff x="7762507" y="2419623"/>
            <a:chExt cx="4098359" cy="3429330"/>
          </a:xfrm>
        </p:grpSpPr>
        <p:sp>
          <p:nvSpPr>
            <p:cNvPr id="115" name="Right Arrow 6">
              <a:extLst>
                <a:ext uri="{FF2B5EF4-FFF2-40B4-BE49-F238E27FC236}">
                  <a16:creationId xmlns:a16="http://schemas.microsoft.com/office/drawing/2014/main" id="{70C9F6D5-DE8B-D887-4D71-114FFC45B5BE}"/>
                </a:ext>
              </a:extLst>
            </p:cNvPr>
            <p:cNvSpPr/>
            <p:nvPr/>
          </p:nvSpPr>
          <p:spPr bwMode="auto">
            <a:xfrm rot="16200000">
              <a:off x="7846712" y="2695977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A1308D7B-042B-3783-2871-6C8C60B10126}"/>
                </a:ext>
              </a:extLst>
            </p:cNvPr>
            <p:cNvSpPr txBox="1"/>
            <p:nvPr/>
          </p:nvSpPr>
          <p:spPr bwMode="auto">
            <a:xfrm>
              <a:off x="7762507" y="2419623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8C0A"/>
                  </a:solidFill>
                  <a:latin typeface="Ericsson Hilda Light" panose="00000400000000000000" pitchFamily="2" charset="0"/>
                </a:rPr>
                <a:t>13</a:t>
              </a:r>
            </a:p>
          </p:txBody>
        </p:sp>
        <p:sp>
          <p:nvSpPr>
            <p:cNvPr id="117" name="Right Arrow 6">
              <a:extLst>
                <a:ext uri="{FF2B5EF4-FFF2-40B4-BE49-F238E27FC236}">
                  <a16:creationId xmlns:a16="http://schemas.microsoft.com/office/drawing/2014/main" id="{4426C33B-A272-58A7-A351-4F48C8DF9BC9}"/>
                </a:ext>
              </a:extLst>
            </p:cNvPr>
            <p:cNvSpPr/>
            <p:nvPr/>
          </p:nvSpPr>
          <p:spPr bwMode="auto">
            <a:xfrm rot="5400000">
              <a:off x="10803096" y="5430243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A425C9E-1B23-C9B3-DD7A-4F18A22AC6F5}"/>
                </a:ext>
              </a:extLst>
            </p:cNvPr>
            <p:cNvSpPr txBox="1"/>
            <p:nvPr/>
          </p:nvSpPr>
          <p:spPr bwMode="auto">
            <a:xfrm>
              <a:off x="10724959" y="5596950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8C0A"/>
                  </a:solidFill>
                  <a:latin typeface="Ericsson Hilda Light" panose="00000400000000000000" pitchFamily="2" charset="0"/>
                </a:rPr>
                <a:t>14</a:t>
              </a:r>
            </a:p>
          </p:txBody>
        </p:sp>
        <p:sp>
          <p:nvSpPr>
            <p:cNvPr id="119" name="Right Arrow 6">
              <a:extLst>
                <a:ext uri="{FF2B5EF4-FFF2-40B4-BE49-F238E27FC236}">
                  <a16:creationId xmlns:a16="http://schemas.microsoft.com/office/drawing/2014/main" id="{49D5524F-EB03-D0B0-DDD0-F492E73FC891}"/>
                </a:ext>
              </a:extLst>
            </p:cNvPr>
            <p:cNvSpPr/>
            <p:nvPr/>
          </p:nvSpPr>
          <p:spPr bwMode="auto">
            <a:xfrm rot="5400000">
              <a:off x="8855077" y="5241197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07D8D47-F02D-803F-5D6E-402C7D3F49CD}"/>
                </a:ext>
              </a:extLst>
            </p:cNvPr>
            <p:cNvSpPr txBox="1"/>
            <p:nvPr/>
          </p:nvSpPr>
          <p:spPr bwMode="auto">
            <a:xfrm>
              <a:off x="8776940" y="5407904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81818"/>
                </a:buClr>
                <a:buSzTx/>
                <a:buFontTx/>
                <a:buNone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Ericsson Hilda"/>
                </a:defRPr>
              </a:lvl1pPr>
            </a:lstStyle>
            <a:p>
              <a:pPr defTabSz="914377">
                <a:defRPr/>
              </a:pPr>
              <a:r>
                <a:rPr lang="es-ES">
                  <a:latin typeface="Ericsson Hilda Light" panose="00000400000000000000" pitchFamily="2" charset="0"/>
                </a:rPr>
                <a:t>2</a:t>
              </a:r>
              <a:r>
                <a:rPr lang="en-US">
                  <a:latin typeface="Ericsson Hilda Light" panose="00000400000000000000" pitchFamily="2" charset="0"/>
                </a:rPr>
                <a:t>0</a:t>
              </a:r>
            </a:p>
          </p:txBody>
        </p:sp>
        <p:sp>
          <p:nvSpPr>
            <p:cNvPr id="121" name="Right Arrow 6">
              <a:extLst>
                <a:ext uri="{FF2B5EF4-FFF2-40B4-BE49-F238E27FC236}">
                  <a16:creationId xmlns:a16="http://schemas.microsoft.com/office/drawing/2014/main" id="{2017DA66-4949-B198-143A-7F7B3BE6B1D9}"/>
                </a:ext>
              </a:extLst>
            </p:cNvPr>
            <p:cNvSpPr/>
            <p:nvPr/>
          </p:nvSpPr>
          <p:spPr bwMode="auto">
            <a:xfrm rot="16200000">
              <a:off x="11587050" y="3133538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F511BBE5-873E-9EEF-1E53-3C7EA87C7442}"/>
                </a:ext>
              </a:extLst>
            </p:cNvPr>
            <p:cNvSpPr txBox="1"/>
            <p:nvPr/>
          </p:nvSpPr>
          <p:spPr bwMode="auto">
            <a:xfrm>
              <a:off x="11502845" y="2863362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6</a:t>
              </a:r>
            </a:p>
          </p:txBody>
        </p:sp>
        <p:sp>
          <p:nvSpPr>
            <p:cNvPr id="123" name="Right Arrow 6">
              <a:extLst>
                <a:ext uri="{FF2B5EF4-FFF2-40B4-BE49-F238E27FC236}">
                  <a16:creationId xmlns:a16="http://schemas.microsoft.com/office/drawing/2014/main" id="{F0613B1B-BA1E-6BCC-09D9-9E1836A249D0}"/>
                </a:ext>
              </a:extLst>
            </p:cNvPr>
            <p:cNvSpPr/>
            <p:nvPr/>
          </p:nvSpPr>
          <p:spPr bwMode="auto">
            <a:xfrm rot="16200000">
              <a:off x="9811672" y="3041862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09C64BED-785E-FE34-793F-0AEABBDA5FB3}"/>
                </a:ext>
              </a:extLst>
            </p:cNvPr>
            <p:cNvSpPr txBox="1"/>
            <p:nvPr/>
          </p:nvSpPr>
          <p:spPr bwMode="auto">
            <a:xfrm>
              <a:off x="9727467" y="2765508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8C0A"/>
                  </a:solidFill>
                  <a:latin typeface="Ericsson Hilda Light" panose="00000400000000000000" pitchFamily="2" charset="0"/>
                </a:rPr>
                <a:t>15</a:t>
              </a:r>
            </a:p>
          </p:txBody>
        </p:sp>
      </p:grpSp>
      <p:sp>
        <p:nvSpPr>
          <p:cNvPr id="125" name="TextBox 124">
            <a:extLst>
              <a:ext uri="{FF2B5EF4-FFF2-40B4-BE49-F238E27FC236}">
                <a16:creationId xmlns:a16="http://schemas.microsoft.com/office/drawing/2014/main" id="{2A39BC79-3CB4-0266-D057-3C996D689327}"/>
              </a:ext>
            </a:extLst>
          </p:cNvPr>
          <p:cNvSpPr txBox="1"/>
          <p:nvPr/>
        </p:nvSpPr>
        <p:spPr bwMode="auto">
          <a:xfrm>
            <a:off x="5074948" y="2115528"/>
            <a:ext cx="2229579" cy="5421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2000" tIns="36000" rIns="73152" bIns="36576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70AD47">
                  <a:lumMod val="75000"/>
                </a:srgbClr>
              </a:buClr>
              <a:defRPr/>
            </a:pPr>
            <a:r>
              <a:rPr lang="en-US" sz="1400" dirty="0">
                <a:latin typeface="Ericsson Hilda Light" panose="00000400000000000000" pitchFamily="2" charset="0"/>
              </a:rPr>
              <a:t>2.    Predict SINR with</a:t>
            </a:r>
          </a:p>
          <a:p>
            <a:pPr indent="346066" defTabSz="914377">
              <a:buClr>
                <a:srgbClr val="181818"/>
              </a:buClr>
              <a:defRPr/>
            </a:pPr>
            <a:r>
              <a:rPr lang="en-US" sz="1400" dirty="0">
                <a:latin typeface="Ericsson Hilda Light" panose="00000400000000000000" pitchFamily="2" charset="0"/>
              </a:rPr>
              <a:t>new parameters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82E453CD-A8CC-E0C8-FEAB-E56980FC3EF0}"/>
              </a:ext>
            </a:extLst>
          </p:cNvPr>
          <p:cNvGrpSpPr/>
          <p:nvPr/>
        </p:nvGrpSpPr>
        <p:grpSpPr>
          <a:xfrm>
            <a:off x="4253213" y="2959159"/>
            <a:ext cx="4130361" cy="2914860"/>
            <a:chOff x="4251732" y="2814623"/>
            <a:chExt cx="4130361" cy="2914860"/>
          </a:xfrm>
        </p:grpSpPr>
        <p:sp>
          <p:nvSpPr>
            <p:cNvPr id="127" name="Circular Arrow 21">
              <a:extLst>
                <a:ext uri="{FF2B5EF4-FFF2-40B4-BE49-F238E27FC236}">
                  <a16:creationId xmlns:a16="http://schemas.microsoft.com/office/drawing/2014/main" id="{8A505F06-7566-36F8-9E65-28DC1E847FBC}"/>
                </a:ext>
              </a:extLst>
            </p:cNvPr>
            <p:cNvSpPr/>
            <p:nvPr/>
          </p:nvSpPr>
          <p:spPr bwMode="auto">
            <a:xfrm flipH="1" flipV="1">
              <a:off x="4251732" y="2814623"/>
              <a:ext cx="4130361" cy="2637459"/>
            </a:xfrm>
            <a:prstGeom prst="circularArrow">
              <a:avLst>
                <a:gd name="adj1" fmla="val 2816"/>
                <a:gd name="adj2" fmla="val 414296"/>
                <a:gd name="adj3" fmla="val 20387015"/>
                <a:gd name="adj4" fmla="val 11914307"/>
                <a:gd name="adj5" fmla="val 7129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dirty="0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5FB138CE-84E7-930E-DA9B-E155A217A323}"/>
                </a:ext>
              </a:extLst>
            </p:cNvPr>
            <p:cNvSpPr txBox="1"/>
            <p:nvPr/>
          </p:nvSpPr>
          <p:spPr bwMode="auto">
            <a:xfrm>
              <a:off x="5073468" y="5417168"/>
              <a:ext cx="2613447" cy="31231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marL="342900" marR="0" lvl="0" indent="-3429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2F0"/>
                </a:buClr>
                <a:buSzTx/>
                <a:buFont typeface="+mj-lt"/>
                <a:buAutoNum type="arabicPeriod"/>
                <a:tabLst/>
                <a:defRPr kumimoji="0" sz="1600" b="0" i="0" u="none" strike="noStrike" kern="0" cap="none" spc="0" normalizeH="0" baseline="0">
                  <a:ln>
                    <a:noFill/>
                  </a:ln>
                  <a:solidFill>
                    <a:srgbClr val="0082F0"/>
                  </a:solidFill>
                  <a:effectLst/>
                  <a:uLnTx/>
                  <a:uFillTx/>
                </a:defRPr>
              </a:lvl1pPr>
            </a:lstStyle>
            <a:p>
              <a:pPr marL="0" indent="0" defTabSz="914377">
                <a:buNone/>
                <a:defRPr/>
              </a:pPr>
              <a:r>
                <a:rPr lang="en-US" sz="1400" dirty="0">
                  <a:solidFill>
                    <a:schemeClr val="tx1"/>
                  </a:solidFill>
                  <a:latin typeface="Ericsson Hilda Light" panose="00000400000000000000" pitchFamily="2" charset="0"/>
                </a:rPr>
                <a:t>1.    Alter power parameters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1F02E7E1-7CC0-EFBA-4117-FE4E8BC9F732}"/>
              </a:ext>
            </a:extLst>
          </p:cNvPr>
          <p:cNvGrpSpPr/>
          <p:nvPr/>
        </p:nvGrpSpPr>
        <p:grpSpPr>
          <a:xfrm>
            <a:off x="0" y="1102855"/>
            <a:ext cx="4778401" cy="4500500"/>
            <a:chOff x="182184" y="967284"/>
            <a:chExt cx="4778401" cy="4500500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BBB50851-DBCA-8EC0-D8EC-849C437F210B}"/>
                </a:ext>
              </a:extLst>
            </p:cNvPr>
            <p:cNvSpPr txBox="1"/>
            <p:nvPr/>
          </p:nvSpPr>
          <p:spPr bwMode="auto">
            <a:xfrm>
              <a:off x="1440322" y="967284"/>
              <a:ext cx="2184988" cy="39257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20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Test Configuration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E4CFC258-D7EF-50BA-C682-260A6BB9C39D}"/>
                </a:ext>
              </a:extLst>
            </p:cNvPr>
            <p:cNvSpPr txBox="1"/>
            <p:nvPr/>
          </p:nvSpPr>
          <p:spPr bwMode="auto">
            <a:xfrm>
              <a:off x="1178168" y="1331274"/>
              <a:ext cx="2747978" cy="3182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6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(Including Performance KPIs)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63480B9-D268-9511-AE44-7F8F4925F435}"/>
                </a:ext>
              </a:extLst>
            </p:cNvPr>
            <p:cNvSpPr txBox="1"/>
            <p:nvPr/>
          </p:nvSpPr>
          <p:spPr bwMode="auto">
            <a:xfrm>
              <a:off x="1715831" y="1899874"/>
              <a:ext cx="816985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110, 8]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61BBD59A-9D9B-2940-E27D-480031B36812}"/>
                </a:ext>
              </a:extLst>
            </p:cNvPr>
            <p:cNvSpPr txBox="1"/>
            <p:nvPr/>
          </p:nvSpPr>
          <p:spPr bwMode="auto">
            <a:xfrm>
              <a:off x="182184" y="2737842"/>
              <a:ext cx="828064" cy="3182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[-106, 9]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3CEB8C56-01A3-1F12-FEE2-9CCC49529055}"/>
                </a:ext>
              </a:extLst>
            </p:cNvPr>
            <p:cNvSpPr txBox="1"/>
            <p:nvPr/>
          </p:nvSpPr>
          <p:spPr bwMode="auto">
            <a:xfrm>
              <a:off x="2400407" y="3157416"/>
              <a:ext cx="746470" cy="26504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80, 8]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D4809CC-9F66-259E-16CB-AED344EB801E}"/>
                </a:ext>
              </a:extLst>
            </p:cNvPr>
            <p:cNvSpPr txBox="1"/>
            <p:nvPr/>
          </p:nvSpPr>
          <p:spPr bwMode="auto">
            <a:xfrm>
              <a:off x="3537597" y="2076857"/>
              <a:ext cx="816985" cy="28164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90, 10]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3BBB8FBC-5EFC-818E-78CD-6932B44B6E94}"/>
                </a:ext>
              </a:extLst>
            </p:cNvPr>
            <p:cNvSpPr txBox="1"/>
            <p:nvPr/>
          </p:nvSpPr>
          <p:spPr bwMode="auto">
            <a:xfrm>
              <a:off x="1343252" y="4930594"/>
              <a:ext cx="954726" cy="26859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100, 10]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4CF05B16-8789-5919-9872-DBFE81FFCE49}"/>
                </a:ext>
              </a:extLst>
            </p:cNvPr>
            <p:cNvSpPr txBox="1"/>
            <p:nvPr/>
          </p:nvSpPr>
          <p:spPr bwMode="auto">
            <a:xfrm>
              <a:off x="4040120" y="3229144"/>
              <a:ext cx="920465" cy="2672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120, 10]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1F28693-64C7-DE77-4696-92AB7685EDD0}"/>
                </a:ext>
              </a:extLst>
            </p:cNvPr>
            <p:cNvSpPr txBox="1"/>
            <p:nvPr/>
          </p:nvSpPr>
          <p:spPr bwMode="auto">
            <a:xfrm>
              <a:off x="3235871" y="5199189"/>
              <a:ext cx="954726" cy="26859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[-103, 10]</a:t>
              </a: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B0EDF55F-08C9-1EA8-22CD-7DDC162199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35847" y="3553709"/>
              <a:ext cx="1326034" cy="21592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531BFDBF-42E7-2D2B-BEF9-A9BE1B112F8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001067" y="4044403"/>
              <a:ext cx="551090" cy="32411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04483F21-5D6B-FD30-1E7C-52F8E3042E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981463" y="3873187"/>
              <a:ext cx="1231392" cy="889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9FE74193-D4FD-7722-3DD7-6FB1C7F15B5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61400" y="4078141"/>
              <a:ext cx="551629" cy="44022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D477C07-F542-18DA-9568-C23804F78F4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039208" y="2898509"/>
              <a:ext cx="684758" cy="54537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11CA6AA3-02A6-A172-7B1A-CBD1B9D54D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19220" y="2821295"/>
              <a:ext cx="254644" cy="60553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5019AD16-ADB2-1810-2ACE-A7C1FFC23F0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6622" y="3777205"/>
              <a:ext cx="564063" cy="67769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DE7BC73-2B3F-935D-A4F1-DC0E2D4D13D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29477" y="2398451"/>
              <a:ext cx="1149459" cy="1385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FBDE7421-C6D3-EDA2-E0F1-3FDAC8F2690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46090" y="4221115"/>
              <a:ext cx="465229" cy="32165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A842594A-BF35-60F9-C858-66ADF655E19C}"/>
                </a:ext>
              </a:extLst>
            </p:cNvPr>
            <p:cNvSpPr/>
            <p:nvPr/>
          </p:nvSpPr>
          <p:spPr>
            <a:xfrm>
              <a:off x="412733" y="3030314"/>
              <a:ext cx="745294" cy="75324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1A10692B-0D75-A88A-00C9-5CD60B9ADED2}"/>
                </a:ext>
              </a:extLst>
            </p:cNvPr>
            <p:cNvSpPr/>
            <p:nvPr/>
          </p:nvSpPr>
          <p:spPr>
            <a:xfrm>
              <a:off x="3334871" y="4415477"/>
              <a:ext cx="745294" cy="75324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F6D8B82D-F479-60BD-511C-9F5F2483B4D2}"/>
                </a:ext>
              </a:extLst>
            </p:cNvPr>
            <p:cNvSpPr txBox="1"/>
            <p:nvPr/>
          </p:nvSpPr>
          <p:spPr bwMode="auto">
            <a:xfrm>
              <a:off x="1147056" y="3068506"/>
              <a:ext cx="569008" cy="4609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buClr>
                  <a:srgbClr val="70AD47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Issue cell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1B04DE84-A820-EFEB-06B2-C564CC646023}"/>
                </a:ext>
              </a:extLst>
            </p:cNvPr>
            <p:cNvSpPr txBox="1"/>
            <p:nvPr/>
          </p:nvSpPr>
          <p:spPr bwMode="auto">
            <a:xfrm>
              <a:off x="2765299" y="4542765"/>
              <a:ext cx="570966" cy="47246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buClr>
                  <a:srgbClr val="70AD47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Issue cell</a:t>
              </a: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C876C5E8-9B15-E8CB-553C-E8C9D5A4AE66}"/>
              </a:ext>
            </a:extLst>
          </p:cNvPr>
          <p:cNvGrpSpPr/>
          <p:nvPr/>
        </p:nvGrpSpPr>
        <p:grpSpPr>
          <a:xfrm>
            <a:off x="7783106" y="1270767"/>
            <a:ext cx="4285383" cy="4291108"/>
            <a:chOff x="7575483" y="1106724"/>
            <a:chExt cx="4285383" cy="4291108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67DC0947-DE32-A6D9-3012-AFB6B87F19B7}"/>
                </a:ext>
              </a:extLst>
            </p:cNvPr>
            <p:cNvSpPr txBox="1"/>
            <p:nvPr/>
          </p:nvSpPr>
          <p:spPr bwMode="auto">
            <a:xfrm>
              <a:off x="8754219" y="1106724"/>
              <a:ext cx="2184990" cy="39215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20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Predicted UL SINR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CF905FC-833D-B93A-882B-8C14CCCEA94B}"/>
                </a:ext>
              </a:extLst>
            </p:cNvPr>
            <p:cNvSpPr txBox="1"/>
            <p:nvPr/>
          </p:nvSpPr>
          <p:spPr bwMode="auto">
            <a:xfrm>
              <a:off x="9108524" y="1899874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20</a:t>
              </a:r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5BD03632-FCD5-6C3F-9C6F-97EECECD784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192275" y="3557756"/>
              <a:ext cx="1326034" cy="21592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B9CF6782-141F-5427-F193-8A29B6E9C20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157495" y="4048450"/>
              <a:ext cx="551090" cy="32411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0023880A-AE0F-4F65-BCD1-958B41BBD8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37891" y="3877234"/>
              <a:ext cx="1231392" cy="889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999272FD-DA2E-B8D8-0842-B80130A4672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17828" y="4082188"/>
              <a:ext cx="551629" cy="44022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0405C-E251-88DB-6767-51740B5FE1D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0195636" y="2902556"/>
              <a:ext cx="684758" cy="54537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424D02DA-A5A9-5865-4C25-769F7C61F60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375648" y="2825342"/>
              <a:ext cx="254644" cy="60553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A8766200-8A7B-3230-014A-8738030112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013050" y="3781252"/>
              <a:ext cx="564063" cy="67769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152E68-044D-6F66-0B68-049397F14A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585905" y="2402498"/>
              <a:ext cx="1149459" cy="1385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AA3CBA03-8C30-F0AE-AA34-32C46146B27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102518" y="4225162"/>
              <a:ext cx="465229" cy="32165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77684E09-D120-6191-74F4-92E944998D32}"/>
                </a:ext>
              </a:extLst>
            </p:cNvPr>
            <p:cNvSpPr txBox="1"/>
            <p:nvPr/>
          </p:nvSpPr>
          <p:spPr bwMode="auto">
            <a:xfrm>
              <a:off x="10929577" y="2080701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8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17CFB097-E280-23B7-EB9A-D88BF9520D1F}"/>
                </a:ext>
              </a:extLst>
            </p:cNvPr>
            <p:cNvSpPr txBox="1"/>
            <p:nvPr/>
          </p:nvSpPr>
          <p:spPr bwMode="auto">
            <a:xfrm>
              <a:off x="7774646" y="2835046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0000"/>
                  </a:solidFill>
                  <a:latin typeface="Ericsson Hilda Light" panose="00000400000000000000" pitchFamily="2" charset="0"/>
                </a:rPr>
                <a:t>10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F75A4CBE-A90D-955D-6A0F-8725757DAA45}"/>
                </a:ext>
              </a:extLst>
            </p:cNvPr>
            <p:cNvSpPr txBox="1"/>
            <p:nvPr/>
          </p:nvSpPr>
          <p:spPr bwMode="auto">
            <a:xfrm>
              <a:off x="8771683" y="4929022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21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8AA5B9C7-9C4D-53F0-8FE6-E6C9C6219D38}"/>
                </a:ext>
              </a:extLst>
            </p:cNvPr>
            <p:cNvSpPr txBox="1"/>
            <p:nvPr/>
          </p:nvSpPr>
          <p:spPr bwMode="auto">
            <a:xfrm>
              <a:off x="10766213" y="5138058"/>
              <a:ext cx="222124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0000"/>
                  </a:solidFill>
                  <a:latin typeface="Ericsson Hilda Light" panose="00000400000000000000" pitchFamily="2" charset="0"/>
                </a:rPr>
                <a:t>8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B900C149-967E-9493-ED4A-EFD7F7332441}"/>
                </a:ext>
              </a:extLst>
            </p:cNvPr>
            <p:cNvSpPr txBox="1"/>
            <p:nvPr/>
          </p:nvSpPr>
          <p:spPr bwMode="auto">
            <a:xfrm>
              <a:off x="11514984" y="3281956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7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AC6625DD-315A-0763-F222-9A134F5530E9}"/>
                </a:ext>
              </a:extLst>
            </p:cNvPr>
            <p:cNvSpPr txBox="1"/>
            <p:nvPr/>
          </p:nvSpPr>
          <p:spPr bwMode="auto">
            <a:xfrm>
              <a:off x="9731273" y="3171196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7</a:t>
              </a: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6BC28CD0-5C84-1500-4F67-AA21EFDDDA7C}"/>
                </a:ext>
              </a:extLst>
            </p:cNvPr>
            <p:cNvSpPr/>
            <p:nvPr/>
          </p:nvSpPr>
          <p:spPr>
            <a:xfrm>
              <a:off x="7575483" y="3065147"/>
              <a:ext cx="745294" cy="67769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9ED9FAED-EB17-F330-2F59-91BBE70CF31D}"/>
                </a:ext>
              </a:extLst>
            </p:cNvPr>
            <p:cNvSpPr/>
            <p:nvPr/>
          </p:nvSpPr>
          <p:spPr>
            <a:xfrm>
              <a:off x="10504628" y="4454068"/>
              <a:ext cx="745294" cy="67769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</p:grpSp>
      <p:sp>
        <p:nvSpPr>
          <p:cNvPr id="172" name="Oval 171">
            <a:extLst>
              <a:ext uri="{FF2B5EF4-FFF2-40B4-BE49-F238E27FC236}">
                <a16:creationId xmlns:a16="http://schemas.microsoft.com/office/drawing/2014/main" id="{DAF54E5C-DFEB-3E2E-D8FD-DA8F2B394B54}"/>
              </a:ext>
            </a:extLst>
          </p:cNvPr>
          <p:cNvSpPr/>
          <p:nvPr/>
        </p:nvSpPr>
        <p:spPr>
          <a:xfrm>
            <a:off x="9739189" y="3564859"/>
            <a:ext cx="745295" cy="677693"/>
          </a:xfrm>
          <a:prstGeom prst="ellipse">
            <a:avLst/>
          </a:prstGeom>
          <a:noFill/>
          <a:ln w="285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prstClr val="white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173" name="Hexagon 172">
            <a:extLst>
              <a:ext uri="{FF2B5EF4-FFF2-40B4-BE49-F238E27FC236}">
                <a16:creationId xmlns:a16="http://schemas.microsoft.com/office/drawing/2014/main" id="{653FF6DE-B6A9-0A59-AC48-5C4FFB3E497F}"/>
              </a:ext>
            </a:extLst>
          </p:cNvPr>
          <p:cNvSpPr/>
          <p:nvPr/>
        </p:nvSpPr>
        <p:spPr bwMode="auto">
          <a:xfrm>
            <a:off x="5281088" y="3216668"/>
            <a:ext cx="1933303" cy="1750219"/>
          </a:xfrm>
          <a:prstGeom prst="hex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996" indent="-179996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</a:endParaRP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485AB684-0A93-A500-9956-8AB6C49D41D6}"/>
              </a:ext>
            </a:extLst>
          </p:cNvPr>
          <p:cNvGrpSpPr/>
          <p:nvPr/>
        </p:nvGrpSpPr>
        <p:grpSpPr>
          <a:xfrm>
            <a:off x="5499818" y="3419549"/>
            <a:ext cx="1491712" cy="1420997"/>
            <a:chOff x="7277410" y="1749031"/>
            <a:chExt cx="1491712" cy="1420997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DF51CCF2-150E-2AEE-C95B-688237E04A9C}"/>
                </a:ext>
              </a:extLst>
            </p:cNvPr>
            <p:cNvGrpSpPr/>
            <p:nvPr/>
          </p:nvGrpSpPr>
          <p:grpSpPr>
            <a:xfrm>
              <a:off x="7864258" y="2289200"/>
              <a:ext cx="318016" cy="318016"/>
              <a:chOff x="7864258" y="2289200"/>
              <a:chExt cx="318016" cy="318016"/>
            </a:xfrm>
          </p:grpSpPr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60F7F3D7-ADFC-D6F5-6060-F62106BF700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FF323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79AB250A-E7B5-2E2F-F356-011A295BEE2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8F45015C-B099-EAC1-5585-8990BE175012}"/>
                </a:ext>
              </a:extLst>
            </p:cNvPr>
            <p:cNvGrpSpPr/>
            <p:nvPr/>
          </p:nvGrpSpPr>
          <p:grpSpPr>
            <a:xfrm>
              <a:off x="8379703" y="1799030"/>
              <a:ext cx="318016" cy="318016"/>
              <a:chOff x="7864258" y="2289200"/>
              <a:chExt cx="318016" cy="318016"/>
            </a:xfrm>
          </p:grpSpPr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123C086D-B0B1-7A91-88C7-8EDA5BF3B84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0082F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A9D7C595-41A8-9BBE-98D5-E51BCF85DE7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F9D9E419-61F3-9140-531C-6255A5A94B7D}"/>
                </a:ext>
              </a:extLst>
            </p:cNvPr>
            <p:cNvGrpSpPr/>
            <p:nvPr/>
          </p:nvGrpSpPr>
          <p:grpSpPr>
            <a:xfrm>
              <a:off x="8451106" y="2289200"/>
              <a:ext cx="318016" cy="318016"/>
              <a:chOff x="7864258" y="2289200"/>
              <a:chExt cx="318016" cy="318016"/>
            </a:xfrm>
          </p:grpSpPr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3D526CA6-2763-3F09-13A2-3789096CA80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C6B4CCCD-6125-7847-F5F6-8E62DDA20CD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21C96B6-0027-0D04-DC58-70CE961B22E2}"/>
                </a:ext>
              </a:extLst>
            </p:cNvPr>
            <p:cNvGrpSpPr/>
            <p:nvPr/>
          </p:nvGrpSpPr>
          <p:grpSpPr>
            <a:xfrm>
              <a:off x="7867030" y="2852012"/>
              <a:ext cx="318016" cy="318016"/>
              <a:chOff x="7864258" y="2289200"/>
              <a:chExt cx="318016" cy="318016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8E557B28-9B64-1C60-C48E-7EBA82833C5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0082F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80D6A1D9-D228-3234-F391-179C6CD6213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74E5CE87-F80D-B829-4E49-E3EC6997D1E0}"/>
                </a:ext>
              </a:extLst>
            </p:cNvPr>
            <p:cNvGrpSpPr/>
            <p:nvPr/>
          </p:nvGrpSpPr>
          <p:grpSpPr>
            <a:xfrm>
              <a:off x="7277410" y="2241178"/>
              <a:ext cx="318016" cy="318016"/>
              <a:chOff x="7864258" y="2289200"/>
              <a:chExt cx="318016" cy="318016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0D963A25-3A13-E710-3EFE-43904C34B8D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0082F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4824B8C-6CB9-9E61-E5FB-B2FFF447884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144085B4-2664-4894-45EC-6A1DFE014903}"/>
                </a:ext>
              </a:extLst>
            </p:cNvPr>
            <p:cNvGrpSpPr/>
            <p:nvPr/>
          </p:nvGrpSpPr>
          <p:grpSpPr>
            <a:xfrm>
              <a:off x="7413017" y="1749031"/>
              <a:ext cx="318016" cy="318016"/>
              <a:chOff x="7864258" y="2289200"/>
              <a:chExt cx="318016" cy="318016"/>
            </a:xfrm>
          </p:grpSpPr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73BC3FE5-6CF3-DC37-F511-EB656FA0D12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E327FAF-1F46-4E68-31D9-45D8A99F299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93CE82E2-B12B-DEEC-D914-CBF778650FF6}"/>
                </a:ext>
              </a:extLst>
            </p:cNvPr>
            <p:cNvCxnSpPr>
              <a:stCxn id="197" idx="7"/>
              <a:endCxn id="195" idx="3"/>
            </p:cNvCxnSpPr>
            <p:nvPr/>
          </p:nvCxnSpPr>
          <p:spPr bwMode="auto">
            <a:xfrm flipV="1">
              <a:off x="8135702" y="2070474"/>
              <a:ext cx="290573" cy="26529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F7A9A6BE-DDF6-A395-3CF3-06D5FCA42770}"/>
                </a:ext>
              </a:extLst>
            </p:cNvPr>
            <p:cNvCxnSpPr>
              <a:stCxn id="197" idx="2"/>
              <a:endCxn id="189" idx="6"/>
            </p:cNvCxnSpPr>
            <p:nvPr/>
          </p:nvCxnSpPr>
          <p:spPr bwMode="auto">
            <a:xfrm flipH="1" flipV="1">
              <a:off x="7595426" y="2400186"/>
              <a:ext cx="268832" cy="4802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2FBE0031-24DA-E553-21AD-2386C2D77974}"/>
                </a:ext>
              </a:extLst>
            </p:cNvPr>
            <p:cNvCxnSpPr>
              <a:stCxn id="197" idx="4"/>
              <a:endCxn id="191" idx="0"/>
            </p:cNvCxnSpPr>
            <p:nvPr/>
          </p:nvCxnSpPr>
          <p:spPr bwMode="auto">
            <a:xfrm>
              <a:off x="8023266" y="2607216"/>
              <a:ext cx="2772" cy="24479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3C911883-8EAB-8994-914B-722CACE17D39}"/>
                </a:ext>
              </a:extLst>
            </p:cNvPr>
            <p:cNvCxnSpPr>
              <a:cxnSpLocks/>
              <a:stCxn id="197" idx="6"/>
              <a:endCxn id="193" idx="2"/>
            </p:cNvCxnSpPr>
            <p:nvPr/>
          </p:nvCxnSpPr>
          <p:spPr bwMode="auto">
            <a:xfrm>
              <a:off x="8182274" y="2448208"/>
              <a:ext cx="26883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9ECB83AF-F0F4-1207-8B9F-E6336606751B}"/>
                </a:ext>
              </a:extLst>
            </p:cNvPr>
            <p:cNvCxnSpPr>
              <a:stCxn id="197" idx="1"/>
              <a:endCxn id="187" idx="5"/>
            </p:cNvCxnSpPr>
            <p:nvPr/>
          </p:nvCxnSpPr>
          <p:spPr bwMode="auto">
            <a:xfrm flipH="1" flipV="1">
              <a:off x="7684461" y="2020475"/>
              <a:ext cx="226369" cy="315297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98" name="TextBox 197">
            <a:extLst>
              <a:ext uri="{FF2B5EF4-FFF2-40B4-BE49-F238E27FC236}">
                <a16:creationId xmlns:a16="http://schemas.microsoft.com/office/drawing/2014/main" id="{D2F7C6D9-96AD-24F2-7812-412011511ADB}"/>
              </a:ext>
            </a:extLst>
          </p:cNvPr>
          <p:cNvSpPr txBox="1"/>
          <p:nvPr/>
        </p:nvSpPr>
        <p:spPr>
          <a:xfrm>
            <a:off x="4579435" y="2721474"/>
            <a:ext cx="33186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Trained</a:t>
            </a:r>
            <a:r>
              <a:rPr lang="es-ES" dirty="0"/>
              <a:t> GNN </a:t>
            </a:r>
            <a:r>
              <a:rPr lang="es-ES" dirty="0" err="1"/>
              <a:t>Model</a:t>
            </a:r>
            <a:endParaRPr lang="es-ES" dirty="0"/>
          </a:p>
        </p:txBody>
      </p:sp>
      <p:pic>
        <p:nvPicPr>
          <p:cNvPr id="199" name="Graphic 198" descr="Cell Tower with solid fill">
            <a:extLst>
              <a:ext uri="{FF2B5EF4-FFF2-40B4-BE49-F238E27FC236}">
                <a16:creationId xmlns:a16="http://schemas.microsoft.com/office/drawing/2014/main" id="{FD94A006-C113-00CB-A06E-713F07F0F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2094" y="3291316"/>
            <a:ext cx="505656" cy="542127"/>
          </a:xfrm>
          <a:prstGeom prst="rect">
            <a:avLst/>
          </a:prstGeom>
        </p:spPr>
      </p:pic>
      <p:pic>
        <p:nvPicPr>
          <p:cNvPr id="200" name="Graphic 199" descr="Cell Tower with solid fill">
            <a:extLst>
              <a:ext uri="{FF2B5EF4-FFF2-40B4-BE49-F238E27FC236}">
                <a16:creationId xmlns:a16="http://schemas.microsoft.com/office/drawing/2014/main" id="{DBAF1938-62C4-4B65-3B00-993FEF852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8954" y="4456464"/>
            <a:ext cx="505656" cy="542127"/>
          </a:xfrm>
          <a:prstGeom prst="rect">
            <a:avLst/>
          </a:prstGeom>
        </p:spPr>
      </p:pic>
      <p:pic>
        <p:nvPicPr>
          <p:cNvPr id="201" name="Graphic 200" descr="Cell Tower with solid fill">
            <a:extLst>
              <a:ext uri="{FF2B5EF4-FFF2-40B4-BE49-F238E27FC236}">
                <a16:creationId xmlns:a16="http://schemas.microsoft.com/office/drawing/2014/main" id="{223B5890-2802-25E3-49F2-4523CB572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34382" y="3602579"/>
            <a:ext cx="505656" cy="542127"/>
          </a:xfrm>
          <a:prstGeom prst="rect">
            <a:avLst/>
          </a:prstGeom>
        </p:spPr>
      </p:pic>
      <p:pic>
        <p:nvPicPr>
          <p:cNvPr id="202" name="Graphic 201" descr="Cell Tower with solid fill">
            <a:extLst>
              <a:ext uri="{FF2B5EF4-FFF2-40B4-BE49-F238E27FC236}">
                <a16:creationId xmlns:a16="http://schemas.microsoft.com/office/drawing/2014/main" id="{DE040A10-56EA-AE98-67A7-0EBF0A8513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2068" y="4676112"/>
            <a:ext cx="505656" cy="542127"/>
          </a:xfrm>
          <a:prstGeom prst="rect">
            <a:avLst/>
          </a:prstGeom>
        </p:spPr>
      </p:pic>
      <p:pic>
        <p:nvPicPr>
          <p:cNvPr id="203" name="Graphic 202" descr="Cell Tower with solid fill">
            <a:extLst>
              <a:ext uri="{FF2B5EF4-FFF2-40B4-BE49-F238E27FC236}">
                <a16:creationId xmlns:a16="http://schemas.microsoft.com/office/drawing/2014/main" id="{300D6D3B-7DAE-69BA-9A1F-D61A15D778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7174" y="3622086"/>
            <a:ext cx="505656" cy="542127"/>
          </a:xfrm>
          <a:prstGeom prst="rect">
            <a:avLst/>
          </a:prstGeom>
        </p:spPr>
      </p:pic>
      <p:pic>
        <p:nvPicPr>
          <p:cNvPr id="204" name="Graphic 203" descr="Cell Tower with solid fill">
            <a:extLst>
              <a:ext uri="{FF2B5EF4-FFF2-40B4-BE49-F238E27FC236}">
                <a16:creationId xmlns:a16="http://schemas.microsoft.com/office/drawing/2014/main" id="{E560122C-A4FE-0937-5910-854A0A45CF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8430" y="3301979"/>
            <a:ext cx="505656" cy="542127"/>
          </a:xfrm>
          <a:prstGeom prst="rect">
            <a:avLst/>
          </a:prstGeom>
        </p:spPr>
      </p:pic>
      <p:pic>
        <p:nvPicPr>
          <p:cNvPr id="205" name="Graphic 204" descr="Cell Tower with solid fill">
            <a:extLst>
              <a:ext uri="{FF2B5EF4-FFF2-40B4-BE49-F238E27FC236}">
                <a16:creationId xmlns:a16="http://schemas.microsoft.com/office/drawing/2014/main" id="{8ED86644-6F2B-5C7E-DE3C-5BCDBC2BED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44292" y="3808735"/>
            <a:ext cx="505656" cy="542127"/>
          </a:xfrm>
          <a:prstGeom prst="rect">
            <a:avLst/>
          </a:prstGeom>
        </p:spPr>
      </p:pic>
      <p:pic>
        <p:nvPicPr>
          <p:cNvPr id="206" name="Graphic 205" descr="Cell Tower with solid fill">
            <a:extLst>
              <a:ext uri="{FF2B5EF4-FFF2-40B4-BE49-F238E27FC236}">
                <a16:creationId xmlns:a16="http://schemas.microsoft.com/office/drawing/2014/main" id="{41B20F42-B367-81D4-1685-38F6C94FD6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67676" y="4643506"/>
            <a:ext cx="505656" cy="542127"/>
          </a:xfrm>
          <a:prstGeom prst="rect">
            <a:avLst/>
          </a:prstGeom>
        </p:spPr>
      </p:pic>
      <p:pic>
        <p:nvPicPr>
          <p:cNvPr id="207" name="Graphic 206" descr="Cell Tower with solid fill">
            <a:extLst>
              <a:ext uri="{FF2B5EF4-FFF2-40B4-BE49-F238E27FC236}">
                <a16:creationId xmlns:a16="http://schemas.microsoft.com/office/drawing/2014/main" id="{6B706FAB-2896-6F71-3A4B-A5AA6E831C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2975" y="2372258"/>
            <a:ext cx="505656" cy="542127"/>
          </a:xfrm>
          <a:prstGeom prst="rect">
            <a:avLst/>
          </a:prstGeom>
        </p:spPr>
      </p:pic>
      <p:pic>
        <p:nvPicPr>
          <p:cNvPr id="208" name="Graphic 207" descr="Cell Tower with solid fill">
            <a:extLst>
              <a:ext uri="{FF2B5EF4-FFF2-40B4-BE49-F238E27FC236}">
                <a16:creationId xmlns:a16="http://schemas.microsoft.com/office/drawing/2014/main" id="{D473F1BD-AB12-F03E-5AD4-9134F84373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0372" y="2495610"/>
            <a:ext cx="505656" cy="542127"/>
          </a:xfrm>
          <a:prstGeom prst="rect">
            <a:avLst/>
          </a:prstGeom>
        </p:spPr>
      </p:pic>
      <p:pic>
        <p:nvPicPr>
          <p:cNvPr id="209" name="Graphic 208" descr="Cell Tower with solid fill">
            <a:extLst>
              <a:ext uri="{FF2B5EF4-FFF2-40B4-BE49-F238E27FC236}">
                <a16:creationId xmlns:a16="http://schemas.microsoft.com/office/drawing/2014/main" id="{054AD2E1-E4F4-0949-B9F6-7234D04167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5824" y="2344940"/>
            <a:ext cx="505656" cy="542127"/>
          </a:xfrm>
          <a:prstGeom prst="rect">
            <a:avLst/>
          </a:prstGeom>
        </p:spPr>
      </p:pic>
      <p:pic>
        <p:nvPicPr>
          <p:cNvPr id="210" name="Graphic 209" descr="Cell Tower with solid fill">
            <a:extLst>
              <a:ext uri="{FF2B5EF4-FFF2-40B4-BE49-F238E27FC236}">
                <a16:creationId xmlns:a16="http://schemas.microsoft.com/office/drawing/2014/main" id="{58F2B6D1-CCEA-E45C-C825-309448D639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22715" y="3757072"/>
            <a:ext cx="505656" cy="542127"/>
          </a:xfrm>
          <a:prstGeom prst="rect">
            <a:avLst/>
          </a:prstGeom>
        </p:spPr>
      </p:pic>
      <p:pic>
        <p:nvPicPr>
          <p:cNvPr id="211" name="Graphic 210" descr="Cell Tower with solid fill">
            <a:extLst>
              <a:ext uri="{FF2B5EF4-FFF2-40B4-BE49-F238E27FC236}">
                <a16:creationId xmlns:a16="http://schemas.microsoft.com/office/drawing/2014/main" id="{97C0505F-8710-1C1C-DF71-C211E281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07594" y="4542259"/>
            <a:ext cx="505656" cy="542127"/>
          </a:xfrm>
          <a:prstGeom prst="rect">
            <a:avLst/>
          </a:prstGeom>
        </p:spPr>
      </p:pic>
      <p:pic>
        <p:nvPicPr>
          <p:cNvPr id="212" name="Graphic 211" descr="Cell Tower with solid fill">
            <a:extLst>
              <a:ext uri="{FF2B5EF4-FFF2-40B4-BE49-F238E27FC236}">
                <a16:creationId xmlns:a16="http://schemas.microsoft.com/office/drawing/2014/main" id="{373250C7-4EC2-C5B1-836F-91700359C6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67012" y="2498394"/>
            <a:ext cx="505656" cy="54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116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125" grpId="0"/>
      <p:bldP spid="17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0EE4F-3000-927C-3CDB-6296960C4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E58850-F4A1-D07C-0233-D4EE5758F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tps://pytorch-geometric.readthedocs.io/en/latest/</a:t>
            </a:r>
          </a:p>
          <a:p>
            <a:r>
              <a:rPr lang="en-US" dirty="0"/>
              <a:t>https://graph-neural-networks.github.io/</a:t>
            </a:r>
          </a:p>
          <a:p>
            <a:r>
              <a:rPr lang="en-US" dirty="0"/>
              <a:t>https://medium.com/towards-data-science/do-we-need-deep-graph-neural-networks-be62d3ec5c59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548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39B628E1-BFC8-940F-19C5-7CC8A17236D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2" descr="Ericsson logo in transparent PNG and vectorized SVG formats">
            <a:extLst>
              <a:ext uri="{FF2B5EF4-FFF2-40B4-BE49-F238E27FC236}">
                <a16:creationId xmlns:a16="http://schemas.microsoft.com/office/drawing/2014/main" id="{8C235722-54FE-A752-441A-E6442002C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315" y="2655191"/>
            <a:ext cx="1141369" cy="1547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5496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80E2B-E7C0-DE19-EF90-2BFB2DA5B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Neural Networks</a:t>
            </a:r>
          </a:p>
        </p:txBody>
      </p:sp>
      <p:pic>
        <p:nvPicPr>
          <p:cNvPr id="4098" name="Picture 2" descr="Neural networks – TikZ.net">
            <a:extLst>
              <a:ext uri="{FF2B5EF4-FFF2-40B4-BE49-F238E27FC236}">
                <a16:creationId xmlns:a16="http://schemas.microsoft.com/office/drawing/2014/main" id="{282CDCBD-DD81-7C81-1545-33645A522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157" y="1835378"/>
            <a:ext cx="5325686" cy="3799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3587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28CC4-BCB9-CF6F-3B85-8CF76EAC2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Graph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5648F1-776B-381E-0A83-ECA86CCEF714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rcRect l="22096" t="61465" r="23854"/>
          <a:stretch/>
        </p:blipFill>
        <p:spPr>
          <a:xfrm>
            <a:off x="7219604" y="3178106"/>
            <a:ext cx="3994266" cy="1727916"/>
          </a:xfrm>
          <a:prstGeom prst="rect">
            <a:avLst/>
          </a:prstGeom>
        </p:spPr>
      </p:pic>
      <p:pic>
        <p:nvPicPr>
          <p:cNvPr id="7" name="Picture 6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B10BD88C-136D-5A58-B042-7034E81BC7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74" y="2327564"/>
            <a:ext cx="5632426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33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 descr="Graph Convolutional Networks | Towards Data Science">
            <a:extLst>
              <a:ext uri="{FF2B5EF4-FFF2-40B4-BE49-F238E27FC236}">
                <a16:creationId xmlns:a16="http://schemas.microsoft.com/office/drawing/2014/main" id="{72AF0A2B-EBD1-3DAB-D2F8-7BF8FB531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883" y="842975"/>
            <a:ext cx="7862234" cy="517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0788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BD817-E005-6A28-A16C-D8E49535C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Pass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D0CFBC-41B3-25DB-8EE7-345A07B62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196" y="2046647"/>
            <a:ext cx="6059373" cy="35174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84D4DAB-104E-F7E2-D623-E2890242BF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486"/>
          <a:stretch/>
        </p:blipFill>
        <p:spPr>
          <a:xfrm>
            <a:off x="6799643" y="3165301"/>
            <a:ext cx="4863702" cy="128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415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B7AE7-7E59-6681-05F5-63E56DD98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Pass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26E58A9-1AE6-DDA8-D91F-3FB7770AC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1081088"/>
            <a:ext cx="11001375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7779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0FCF7-1DD4-C0D3-4810-82A0AC336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s</a:t>
            </a:r>
          </a:p>
        </p:txBody>
      </p:sp>
      <p:pic>
        <p:nvPicPr>
          <p:cNvPr id="2050" name="Picture 2" descr="GitHub - dmlc/dgl: Python package built to ease deep learning on graph, on  top of existing DL frameworks.">
            <a:extLst>
              <a:ext uri="{FF2B5EF4-FFF2-40B4-BE49-F238E27FC236}">
                <a16:creationId xmlns:a16="http://schemas.microsoft.com/office/drawing/2014/main" id="{D5ECD479-A582-A70D-7EE2-BCEED5582A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51" y="1919151"/>
            <a:ext cx="6478756" cy="2018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GitHub - danielegrattarola/spektral: Graph Neural Networks with Keras and  Tensorflow 2.">
            <a:extLst>
              <a:ext uri="{FF2B5EF4-FFF2-40B4-BE49-F238E27FC236}">
                <a16:creationId xmlns:a16="http://schemas.microsoft.com/office/drawing/2014/main" id="{3269B665-A407-D2DF-1B7C-252CC45AF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660957"/>
            <a:ext cx="5822220" cy="291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yTorch Geometric External Library">
            <a:extLst>
              <a:ext uri="{FF2B5EF4-FFF2-40B4-BE49-F238E27FC236}">
                <a16:creationId xmlns:a16="http://schemas.microsoft.com/office/drawing/2014/main" id="{A66BACE3-4ABF-3D96-6F38-DA7F6D3BC0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744" y="1998034"/>
            <a:ext cx="4213476" cy="421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81397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149E1A-50E1-308A-C908-C4DF15F69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s – </a:t>
            </a:r>
            <a:r>
              <a:rPr lang="en-US" dirty="0" err="1"/>
              <a:t>PyTorch</a:t>
            </a:r>
            <a:r>
              <a:rPr lang="en-US" dirty="0"/>
              <a:t> Geometric</a:t>
            </a:r>
          </a:p>
        </p:txBody>
      </p:sp>
      <p:pic>
        <p:nvPicPr>
          <p:cNvPr id="4" name="Picture 3" descr="A computer screen shot of a program code&#10;&#10;Description automatically generated">
            <a:extLst>
              <a:ext uri="{FF2B5EF4-FFF2-40B4-BE49-F238E27FC236}">
                <a16:creationId xmlns:a16="http://schemas.microsoft.com/office/drawing/2014/main" id="{D70E7917-AAFA-BC10-EA57-2BC7C15BC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8654" y="2609630"/>
            <a:ext cx="4697984" cy="3108960"/>
          </a:xfrm>
          <a:prstGeom prst="rect">
            <a:avLst/>
          </a:prstGeom>
        </p:spPr>
      </p:pic>
      <p:pic>
        <p:nvPicPr>
          <p:cNvPr id="5" name="Picture 2" descr="Artificial Neural Network Modelling An Introduction">
            <a:extLst>
              <a:ext uri="{FF2B5EF4-FFF2-40B4-BE49-F238E27FC236}">
                <a16:creationId xmlns:a16="http://schemas.microsoft.com/office/drawing/2014/main" id="{AF0A25A1-DF5A-8A68-ADFA-2CC2477087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75"/>
          <a:stretch/>
        </p:blipFill>
        <p:spPr bwMode="auto">
          <a:xfrm>
            <a:off x="616009" y="3063180"/>
            <a:ext cx="6368521" cy="245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20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1WwThpRzCJ81zv9Sor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ycpbcRQKV.kcVtHP8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uydkVSfmc3s5RwcMD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nCUyXTJC6yU3zoRGx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XFqgehTTK3rHwWHnTG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JtcxQR.6yVGd6mOjT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qnPOw7TZ6aM20URuer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FcLw8RDi7SILoFNMq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2uYXleTbW.hcCVuIOJ.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1WwThpRzCJ81zv9Sor1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ycpbcRQKV.kcVtHP8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uydkVSfmc3s5RwcMD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nCUyXTJC6yU3zoRGx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XFqgehTTK3rHwWHnTG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JtcxQR.6yVGd6mOjT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8002003546907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SDrGIT5SUl.SQtAzf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FcLw8RDi7SILoFNMq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2uYXleTbW.hcCVuIOJ.A"/>
</p:tagLst>
</file>

<file path=ppt/theme/theme1.xml><?xml version="1.0" encoding="utf-8"?>
<a:theme xmlns:a="http://schemas.openxmlformats.org/drawingml/2006/main" name="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2.xml><?xml version="1.0" encoding="utf-8"?>
<a:theme xmlns:a="http://schemas.openxmlformats.org/drawingml/2006/main" name="1_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72000" tIns="36000" rIns="0" bIns="0" numCol="1" anchor="t" anchorCtr="0" compatLnSpc="1">
        <a:prstTxWarp prst="textNoShape">
          <a:avLst/>
        </a:prstTxWarp>
        <a:noAutofit/>
      </a:bodyPr>
      <a:lstStyle>
        <a:defPPr algn="l">
          <a:defRPr sz="2000" spc="0" baseline="0" dirty="0" smtClean="0">
            <a:latin typeface="+mj-lt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TemplateConfiguration><![CDATA[{"elementsMetadata":[],"documentContentValidatorConfiguration":{"enableDocumentContentValidator":false,"documentContentValidatorVersion":0},"slideId":"637027476704980324","enableDocumentContentUpdater":true,"version":"1.9"}]]></TemplafySlideTemplateConfiguration>
</file>

<file path=customXml/item2.xml><?xml version="1.0" encoding="utf-8"?>
<TemplafyTemplateConfiguration><![CDATA[{"elementsMetadata":[],"transformationConfigurations":[{"language":"{{DocumentLanguage}}","disableUpdates":false,"type":"proofingLanguage"},{"propertyName":"FooterText","propertyValue":"true","disableUpdates":false,"type":"customDocumentProperty"},{"propertyName":"SecurityClass","propertyValue":"{{Form.ConfidentialityClass.Confidentiality}}","disableUpdates":false,"type":"customDocumentProperty"},{"propertyName":"ExtConf","propertyValue":"{{Form.ExternalConfidentialityLabel.ExternalConfidentiality}}","disableUpdates":false,"type":"customDocumentProperty"},{"propertyName":"Prepared","propertyValue":"{{Form.Prepared}}","disableUpdates":false,"type":"customDocumentProperty"},{"propertyName":"ApprovedBy","propertyValue":"{{Form.ApprovedBy}}","disableUpdates":false,"type":"customDocumentProperty"},{"propertyName":"DocNo","propertyValue":"{{Form.DocumentNumber}} {{Form.LanguageCode.LanguageCode}}","disableUpdates":false,"type":"customDocumentProperty"},{"propertyName":"Checked","propertyValue":"{{Form.Checked}}","disableUpdates":false,"type":"customDocumentProperty"},{"propertyName":"Date","propertyValue":"{{Form.Date}}","disableUpdates":false,"type":"customDocumentProperty"},{"propertyName":"Reference","propertyValue":"{{Form.Reference}}","disableUpdates":false,"type":"customDocumentProperty"},{"propertyName":"Title","propertyValue":"{{Form.DocumentTitle}}","disableUpdates":false,"type":"customDocumentProperty"},{"propertyName":"Keyword","propertyValue":"{{Form.Keywords}}","disableUpdates":false,"type":"customDocumentProperty"},{"propertyName":"DocumentType","propertyValue":"Presentation2011","disableUpdates":false,"type":"customDocumentProperty"},{"propertyName":"Language","propertyValue":"EnglishUS","disableUpdates":false,"type":"customDocumentProperty"},{"propertyName":"TemplateID","propertyValue":"FALSE","disableUpdates":false,"type":"customDocumentProperty"},{"propertyName":"ConfCtrl","propertyValue":"FALSE","disableUpdates":false,"type":"customDocumentProperty"},{"propertyName":"title","propertyValue":"{{Form.DocumentTitle}}","disableUpdates":false,"type":"documentProperty"},{"propertyName":"keywords","propertyValue":"{{Form.Keywords}}","disableUpdates":false,"type":"documentProperty"},{"propertyName":"creator","propertyValue":"{{Form.Prepared}}","disableUpdates":false,"type":"documentProperty"},{"propertyName":"DocTitle","propertyValue":"{{Form.DocTitle.DocTitle}}","disableUpdates":false,"type":"customDocumentProperty"},{"propertyName":"IsDocument","propertyValue":"{{Form.TemplateType.IsDocument}}","disableUpdates":false,"type":"customDocumentProperty"},{"propertyName":"IsPresentation","propertyValue":"{{Form.TemplateType.IsPresentation}}","disableUpdates":false,"type":"customDocumentProperty"},{"propertyName":"company","propertyValue":"Ericsson","disableUpdates":false,"type":"documentProperty"},{"propertyName":"PageNumberVisible","propertyValue":"{{Form.TotalPageNo.TotalPageNo_value}}","disableUpdates":false,"type":"customDocumentProperty"},{"propertyName":"Revision","propertyValue":"{{Form.Revision}}","disableUpdates":false,"type":"customDocumentProperty"},{"propertyName":"DocType","propertyValue":"{{Form.DocTypePresentation}}","disableUpdates":false,"type":"customDocumentProperty"},{"propertyName":"TemplateVersion","propertyValue":"R2A","disableUpdates":false,"type":"customDocumentProperty"},{"propertyName":"PackageNo","propertyValue":"LXA 119 603","disableUpdates":false,"type":"customDocumentProperty"},{"propertyName":"PackageVersion","propertyValue":"R6B","disableUpdates":false,"type":"customDocumentProperty"},{"propertyName":"TemplateName","propertyValue":"CXC 173 2731/1","disableUpdates":false,"type":"customDocumentProperty"},{"propertyName":"DocName","propertyValue":" ","disableUpdates":false,"type":"customDocumentProperty"},{"propertyName":"description","propertyValue":"{{Form.DocumentNumber}} {{Form.LanguageCode.LanguageCode}}\nRev {{Form.Revision}}","disableUpdates":false,"type":"documentProperty"}],"templateName":"","templateDescription":"","enableDocumentContentUpdater":true,"version":"1.9"}]]></TemplafyTemplate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8AEA22BC61E048A9038B00CABBED97" ma:contentTypeVersion="4" ma:contentTypeDescription="Create a new document." ma:contentTypeScope="" ma:versionID="d757c565b41935149aec2dcf5cfc9ab4">
  <xsd:schema xmlns:xsd="http://www.w3.org/2001/XMLSchema" xmlns:xs="http://www.w3.org/2001/XMLSchema" xmlns:p="http://schemas.microsoft.com/office/2006/metadata/properties" xmlns:ns2="5a9d8e54-2b21-4b75-b1f5-1a436dc4e136" targetNamespace="http://schemas.microsoft.com/office/2006/metadata/properties" ma:root="true" ma:fieldsID="55efe364df8fbb3f561433a53533b381" ns2:_="">
    <xsd:import namespace="5a9d8e54-2b21-4b75-b1f5-1a436dc4e1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d8e54-2b21-4b75-b1f5-1a436dc4e1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FormConfiguration><![CDATA[{"formFields":[{"required":true,"placeholder":"","lines":0,"helpTexts":{"prefix":"","postfix":""},"spacing":{},"type":"textBox","name":"DocumentTitle","label":"Document Title","fullyQualifiedName":"DocumentTitle"},{"dataSource":"Confidentiality","displayColumn":"confidentiality","hideIfNoUserInteractionRequired":false,"distinct":true,"required":true,"autoSelectFirstOption":false,"helpTexts":{"prefix":"","postfix":""},"spacing":{},"type":"dropDown","name":"ConfidentialityClass","label":"Confidentiality Class","fullyQualifiedName":"ConfidentialityClass"},{"dataSource":"External Confidentiality label","displayColumn":"externalConfidentiality","hideIfNoUserInteractionRequired":false,"distinct":true,"required":false,"autoSelectFirstOption":false,"helpTexts":{"prefix":"","postfix":"If no external confidentiality class then please choose the blank value"},"spacing":{},"type":"dropDown","name":"ExternalConfidentialityLabel","label":"External Confidentiality label","fullyQualifiedName":"ExternalConfidentialityLabel"},{"column":"documentType","required":true,"placeholder":"","autoSelectFirstOption":false,"helpTexts":{"prefix":"","postfix":""},"spacing":{},"dataSource":"PowerPoint Document Type","type":"comboBox","name":"DocTypePresentation","label":"Document Type","fullyQualifiedName":"DocTypePresentation"},{"required":false,"placeholder":"","lines":0,"helpTexts":{"prefix":"","postfix":""},"spacing":{},"type":"textBox","name":"DocumentNumber","label":"Document Number","fullyQualifiedName":"DocumentNumber"},{"dataSource":"Language code","displayColumn":"showName","defaultValue":"1","hideIfNoUserInteractionRequired":false,"distinct":true,"required":false,"autoSelectFirstOption":false,"helpTexts":{"prefix":"","postfix":"The language code will be appended to the Document No."},"spacing":{},"type":"dropDown","name":"LanguageCode","label":"Language Code","fullyQualifiedName":"LanguageCode"},{"column":"revision","required":false,"placeholder":"","autoSelectFirstOption":false,"helpTexts":{"prefix":"","postfix":""},"spacing":{},"dataSource":"Revision","type":"comboBox","name":"Revision","label":"Revision","fullyQualifiedName":"Revision"},{"required":false,"helpTexts":{"prefix":"","postfix":""},"spacing":{},"type":"datePicker","name":"Date","label":"Date","fullyQualifiedName":"Date"},{"helpTexts":{"prefix":"","postfix":""},"spacing":{},"type":"heading","name":"FooterVisibilityOptions","label":"Footer Visibility Options","fullyQualifiedName":"FooterVisibilityOptions"},{"dataSource":"PPT FooterVisibility","displayColumn":"templateType","defaultValue":"1","hideIfNoUserInteractionRequired":false,"distinct":true,"required":true,"autoSelectFirstOption":false,"helpTexts":{"prefix":"","postfix":""},"spacing":{},"type":"dropDown","name":"TemplateType","label":"Is this a document or presentation?","fullyQualifiedName":"TemplateType"},{"dataSource":"PPT FooterVisibility","displayColumn":"docTitle_label","filter":{"column":"templateType","otherFieldName":"TemplateType","fullyQualifiedOtherFieldName":"TemplateType","otherFieldColumn":"TemplateType","formReference":"none","operator":"equals"},"hideIfNoUserInteractionRequired":false,"distinct":true,"required":false,"autoSelectFirstOption":true,"helpTexts":{"prefix":"","postfix":""},"spacing":{},"type":"dropDown","name":"DocTitle","label":"Show document title in footer?","fullyQualifiedName":"DocTitle"},{"dataSource":"PPT FooterVisibility","displayColumn":"totalPageNo_text","filter":{"column":"templateType","otherFieldName":"TemplateType","fullyQualifiedOtherFieldName":"TemplateType","otherFieldColumn":"TemplateType","formReference":"none","operator":"equals"},"hideIfNoUserInteractionRequired":false,"distinct":true,"required":false,"autoSelectFirstOption":true,"helpTexts":{"prefix":"","postfix":""},"spacing":{},"type":"dropDown","name":"TotalPageNo","label":"Page numbering","fullyQualifiedName":"TotalPageNo"},{"required":false,"placeholder":"","lines":0,"defaultValue":"{{UserProfile.Prepared}}","helpTexts":{"prefix":"","postfix":""},"spacing":{},"type":"textBox","name":"Prepared","label":"Prepared By (Subject Responsible)","fullyQualifiedName":"Prepared"},{"required":false,"placeholder":"","lines":0,"helpTexts":{"prefix":"","postfix":""},"spacing":{},"type":"textBox","name":"ApprovedBy","label":"Approved By (Document Responsible)","fullyQualifiedName":"ApprovedBy"},{"required":false,"placeholder":"","lines":0,"helpTexts":{"prefix":"","postfix":""},"spacing":{},"type":"textBox","name":"Checked","label":"Checked","fullyQualifiedName":"Checked"},{"required":false,"placeholder":"","lines":0,"helpTexts":{"prefix":"","postfix":""},"spacing":{},"type":"textBox","name":"Reference","label":"Reference","fullyQualifiedName":"Reference"},{"required":false,"placeholder":"","lines":0,"helpTexts":{"prefix":"","postfix":""},"spacing":{},"type":"textBox","name":"Keywords","label":"Keywords","fullyQualifiedName":"Keywords"}],"formDataEntries":[{"name":"DocumentTitle","value":"6idLPZR/4wA/6Ns6gk1JjR2gc6XvTsjN/GzuspQHQow="},{"name":"ConfidentialityClass","value":"PxVEvJY8nE7m/hY9622Sng=="},{"name":"DocTypePresentation","value":"hYG1RS7sIFPr/C38jROUyWG/rXM13Rc2vpxtC7gPc+Y="},{"name":"LanguageCode","value":"5wlu7ZdPxHQj1W0w+yTNSg=="},{"name":"Revision","value":"pNU4V0/pGV5ylCSfL688bA=="},{"name":"Date","value":"oc3+FmRqxMN6L+lvqZdVVw=="},{"name":"TemplateType","value":"5wlu7ZdPxHQj1W0w+yTNSg=="},{"name":"DocTitle","value":"cT/FOwTWaPknrhRlNMh4SQ=="},{"name":"TotalPageNo","value":"5wlu7ZdPxHQj1W0w+yTNSg=="},{"name":"Prepared","value":"H9UB1XfJr/ncRyLSS3sP1ClzTx9fSRFsDPWYUtuTWR8="}]}]]></TemplafyFormConfiguratio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TemplafySlideFormConfiguration><![CDATA[{"formFields":[],"formDataEntries":[]}]]></TemplafySlideForm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09F197C-6A49-47D0-B877-F88807989676}">
  <ds:schemaRefs/>
</ds:datastoreItem>
</file>

<file path=customXml/itemProps2.xml><?xml version="1.0" encoding="utf-8"?>
<ds:datastoreItem xmlns:ds="http://schemas.openxmlformats.org/officeDocument/2006/customXml" ds:itemID="{07958A4E-FAB1-42E4-B6B5-29B01F63F87B}">
  <ds:schemaRefs/>
</ds:datastoreItem>
</file>

<file path=customXml/itemProps3.xml><?xml version="1.0" encoding="utf-8"?>
<ds:datastoreItem xmlns:ds="http://schemas.openxmlformats.org/officeDocument/2006/customXml" ds:itemID="{0C8F50F8-E268-4DB5-BE61-6113176C7F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9d8e54-2b21-4b75-b1f5-1a436dc4e1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92C3DF5-A179-4E2D-BD20-07044B39171F}">
  <ds:schemaRefs/>
</ds:datastoreItem>
</file>

<file path=customXml/itemProps5.xml><?xml version="1.0" encoding="utf-8"?>
<ds:datastoreItem xmlns:ds="http://schemas.openxmlformats.org/officeDocument/2006/customXml" ds:itemID="{F5A7E41D-6E7F-4B05-AFAB-F540BD4C068B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B9AEDDE3-EA02-4A8F-B8F8-0606A0AA45FC}">
  <ds:schemaRefs/>
</ds:datastoreItem>
</file>

<file path=customXml/itemProps7.xml><?xml version="1.0" encoding="utf-8"?>
<ds:datastoreItem xmlns:ds="http://schemas.openxmlformats.org/officeDocument/2006/customXml" ds:itemID="{56F2EE69-0CCA-4F48-BE22-EC4A886C57A7}">
  <ds:schemaRefs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a6550eff-0fc9-443f-8e77-72cbcf778382"/>
    <ds:schemaRef ds:uri="92e1255f-bb7b-4dc9-b051-584cc104eb44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6401371[[fn=Atlas]]</Template>
  <TotalTime>1981</TotalTime>
  <Words>424</Words>
  <Application>Microsoft Office PowerPoint</Application>
  <PresentationFormat>Widescreen</PresentationFormat>
  <Paragraphs>94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Ericsson Hilda Light</vt:lpstr>
      <vt:lpstr>Ericsson Hilda (Body)</vt:lpstr>
      <vt:lpstr>EucrosiaUPC</vt:lpstr>
      <vt:lpstr>Ericsson Hilda ExtraLight</vt:lpstr>
      <vt:lpstr>Ericsson Hilda ExtraBold</vt:lpstr>
      <vt:lpstr>Ericsson Hilda</vt:lpstr>
      <vt:lpstr>Lato Light</vt:lpstr>
      <vt:lpstr>Ericsson Technical Icons</vt:lpstr>
      <vt:lpstr>Arial</vt:lpstr>
      <vt:lpstr>PresentationTemplate2021</vt:lpstr>
      <vt:lpstr>1_PresentationTemplate2021</vt:lpstr>
      <vt:lpstr>think-cell Slide</vt:lpstr>
      <vt:lpstr>Graph Neural Networks (GNNs) to Optimize Telecommunications Networks</vt:lpstr>
      <vt:lpstr>Who we are</vt:lpstr>
      <vt:lpstr>Classical Neural Networks</vt:lpstr>
      <vt:lpstr>What is a Graph?</vt:lpstr>
      <vt:lpstr>PowerPoint Presentation</vt:lpstr>
      <vt:lpstr>Message Passing</vt:lpstr>
      <vt:lpstr>Message Passing</vt:lpstr>
      <vt:lpstr>Frameworks</vt:lpstr>
      <vt:lpstr>Frameworks – PyTorch Geometric</vt:lpstr>
      <vt:lpstr>Model for node classification</vt:lpstr>
      <vt:lpstr>How to train a GNN for node classification?</vt:lpstr>
      <vt:lpstr>Scaling Graph Neural Networks</vt:lpstr>
      <vt:lpstr>Model for graph classification</vt:lpstr>
      <vt:lpstr>How to train a GNN for graph classification?</vt:lpstr>
      <vt:lpstr>Model for link classification</vt:lpstr>
      <vt:lpstr>How to train a GNN for link classification?</vt:lpstr>
      <vt:lpstr>How to optimize a cellular network </vt:lpstr>
      <vt:lpstr>Uplink Interference</vt:lpstr>
      <vt:lpstr>PowerPoint Presentation</vt:lpstr>
      <vt:lpstr>PowerPoint Presentation</vt:lpstr>
      <vt:lpstr>References</vt:lpstr>
      <vt:lpstr>PowerPoint Presentation</vt:lpstr>
    </vt:vector>
  </TitlesOfParts>
  <Company>Ericss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NS AI Differentiators</dc:title>
  <dc:creator>EPHILFR Philipp Frank</dc:creator>
  <cp:keywords/>
  <dc:description>Rev A</dc:description>
  <cp:lastModifiedBy>Oscar Llorente Gonzalez</cp:lastModifiedBy>
  <cp:revision>79</cp:revision>
  <dcterms:created xsi:type="dcterms:W3CDTF">2019-04-23T15:12:54Z</dcterms:created>
  <dcterms:modified xsi:type="dcterms:W3CDTF">2025-02-20T16:2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BCategory">
    <vt:lpwstr> </vt:lpwstr>
  </property>
  <property fmtid="{D5CDD505-2E9C-101B-9397-08002B2CF9AE}" pid="3" name="TemplateIdentity">
    <vt:lpwstr> </vt:lpwstr>
  </property>
  <property fmtid="{D5CDD505-2E9C-101B-9397-08002B2CF9AE}" pid="4" name="DocName">
    <vt:lpwstr> </vt:lpwstr>
  </property>
  <property fmtid="{D5CDD505-2E9C-101B-9397-08002B2CF9AE}" pid="5" name="ContentTypeId">
    <vt:lpwstr>0x010100A28AEA22BC61E048A9038B00CABBED97</vt:lpwstr>
  </property>
  <property fmtid="{D5CDD505-2E9C-101B-9397-08002B2CF9AE}" pid="6" name="DocumentDataTemplate">
    <vt:lpwstr>true</vt:lpwstr>
  </property>
  <property fmtid="{D5CDD505-2E9C-101B-9397-08002B2CF9AE}" pid="7" name="BSubject">
    <vt:lpwstr> </vt:lpwstr>
  </property>
  <property fmtid="{D5CDD505-2E9C-101B-9397-08002B2CF9AE}" pid="8" name="TemplafyTimeStamp">
    <vt:lpwstr>2021-09-22T11:18:46.6132967Z</vt:lpwstr>
  </property>
  <property fmtid="{D5CDD505-2E9C-101B-9397-08002B2CF9AE}" pid="9" name="TemplafyTenantId">
    <vt:lpwstr>ericsson</vt:lpwstr>
  </property>
  <property fmtid="{D5CDD505-2E9C-101B-9397-08002B2CF9AE}" pid="10" name="TemplafyTemplateId">
    <vt:lpwstr>637661677935531027</vt:lpwstr>
  </property>
  <property fmtid="{D5CDD505-2E9C-101B-9397-08002B2CF9AE}" pid="11" name="TemplafyUserProfileId">
    <vt:lpwstr>637104614779859205</vt:lpwstr>
  </property>
  <property fmtid="{D5CDD505-2E9C-101B-9397-08002B2CF9AE}" pid="12" name="TemplafyLanguageCode">
    <vt:lpwstr>en-US</vt:lpwstr>
  </property>
  <property fmtid="{D5CDD505-2E9C-101B-9397-08002B2CF9AE}" pid="13" name="FooterText">
    <vt:lpwstr>true</vt:lpwstr>
  </property>
  <property fmtid="{D5CDD505-2E9C-101B-9397-08002B2CF9AE}" pid="14" name="SecurityClass">
    <vt:lpwstr>Ericsson Confidential</vt:lpwstr>
  </property>
  <property fmtid="{D5CDD505-2E9C-101B-9397-08002B2CF9AE}" pid="15" name="ExtConf">
    <vt:lpwstr/>
  </property>
  <property fmtid="{D5CDD505-2E9C-101B-9397-08002B2CF9AE}" pid="16" name="Prepared">
    <vt:lpwstr>EPHILFR Philipp Frank</vt:lpwstr>
  </property>
  <property fmtid="{D5CDD505-2E9C-101B-9397-08002B2CF9AE}" pid="17" name="ApprovedBy">
    <vt:lpwstr/>
  </property>
  <property fmtid="{D5CDD505-2E9C-101B-9397-08002B2CF9AE}" pid="18" name="DocNo">
    <vt:lpwstr> </vt:lpwstr>
  </property>
  <property fmtid="{D5CDD505-2E9C-101B-9397-08002B2CF9AE}" pid="19" name="Checked">
    <vt:lpwstr/>
  </property>
  <property fmtid="{D5CDD505-2E9C-101B-9397-08002B2CF9AE}" pid="20" name="Date">
    <vt:lpwstr>2023-09-08</vt:lpwstr>
  </property>
  <property fmtid="{D5CDD505-2E9C-101B-9397-08002B2CF9AE}" pid="21" name="Reference">
    <vt:lpwstr/>
  </property>
  <property fmtid="{D5CDD505-2E9C-101B-9397-08002B2CF9AE}" pid="22" name="Title">
    <vt:lpwstr>CNS AI Differentiators</vt:lpwstr>
  </property>
  <property fmtid="{D5CDD505-2E9C-101B-9397-08002B2CF9AE}" pid="23" name="Keyword">
    <vt:lpwstr/>
  </property>
  <property fmtid="{D5CDD505-2E9C-101B-9397-08002B2CF9AE}" pid="24" name="DocumentType">
    <vt:lpwstr>Presentation2011</vt:lpwstr>
  </property>
  <property fmtid="{D5CDD505-2E9C-101B-9397-08002B2CF9AE}" pid="25" name="Language">
    <vt:lpwstr>EnglishUS</vt:lpwstr>
  </property>
  <property fmtid="{D5CDD505-2E9C-101B-9397-08002B2CF9AE}" pid="26" name="TemplateID">
    <vt:lpwstr>FALSE</vt:lpwstr>
  </property>
  <property fmtid="{D5CDD505-2E9C-101B-9397-08002B2CF9AE}" pid="27" name="ConfCtrl">
    <vt:lpwstr>FALSE</vt:lpwstr>
  </property>
  <property fmtid="{D5CDD505-2E9C-101B-9397-08002B2CF9AE}" pid="28" name="DocTitle">
    <vt:lpwstr>true</vt:lpwstr>
  </property>
  <property fmtid="{D5CDD505-2E9C-101B-9397-08002B2CF9AE}" pid="29" name="IsDocument">
    <vt:lpwstr>true</vt:lpwstr>
  </property>
  <property fmtid="{D5CDD505-2E9C-101B-9397-08002B2CF9AE}" pid="30" name="IsPresentation">
    <vt:lpwstr>false</vt:lpwstr>
  </property>
  <property fmtid="{D5CDD505-2E9C-101B-9397-08002B2CF9AE}" pid="31" name="PageNumberVisible">
    <vt:lpwstr>PageXY</vt:lpwstr>
  </property>
  <property fmtid="{D5CDD505-2E9C-101B-9397-08002B2CF9AE}" pid="32" name="Revision">
    <vt:lpwstr>A</vt:lpwstr>
  </property>
  <property fmtid="{D5CDD505-2E9C-101B-9397-08002B2CF9AE}" pid="33" name="DocType">
    <vt:lpwstr>Solution Description</vt:lpwstr>
  </property>
  <property fmtid="{D5CDD505-2E9C-101B-9397-08002B2CF9AE}" pid="34" name="TemplateVersion">
    <vt:lpwstr>R2A</vt:lpwstr>
  </property>
  <property fmtid="{D5CDD505-2E9C-101B-9397-08002B2CF9AE}" pid="35" name="PackageNo">
    <vt:lpwstr>LXA 119 603</vt:lpwstr>
  </property>
  <property fmtid="{D5CDD505-2E9C-101B-9397-08002B2CF9AE}" pid="36" name="PackageVersion">
    <vt:lpwstr>R6B</vt:lpwstr>
  </property>
  <property fmtid="{D5CDD505-2E9C-101B-9397-08002B2CF9AE}" pid="37" name="TemplateName">
    <vt:lpwstr>CXC 173 2731/1</vt:lpwstr>
  </property>
</Properties>
</file>